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11"/>
  </p:notesMasterIdLst>
  <p:handoutMasterIdLst>
    <p:handoutMasterId r:id="rId12"/>
  </p:handoutMasterIdLst>
  <p:sldIdLst>
    <p:sldId id="275" r:id="rId5"/>
    <p:sldId id="277" r:id="rId6"/>
    <p:sldId id="278" r:id="rId7"/>
    <p:sldId id="365" r:id="rId8"/>
    <p:sldId id="285" r:id="rId9"/>
    <p:sldId id="327" r:id="rId10"/>
  </p:sldIdLst>
  <p:sldSz cx="12192000" cy="6858000"/>
  <p:notesSz cx="6797675" cy="9928225"/>
  <p:custDataLst>
    <p:tags r:id="rId1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C2D961B-53EA-8AA1-F6EC-4DA8C514AC01}" v="50" dt="2022-01-07T12:25:46.451"/>
    <p1510:client id="{61AE7B1E-1865-CB8C-4672-B3C992C24FA9}" v="479" dt="2022-01-07T13:52:55.72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290" autoAdjust="0"/>
    <p:restoredTop sz="94614" autoAdjust="0"/>
  </p:normalViewPr>
  <p:slideViewPr>
    <p:cSldViewPr showGuides="1">
      <p:cViewPr varScale="1">
        <p:scale>
          <a:sx n="114" d="100"/>
          <a:sy n="114" d="100"/>
        </p:scale>
        <p:origin x="744" y="30"/>
      </p:cViewPr>
      <p:guideLst/>
    </p:cSldViewPr>
  </p:slideViewPr>
  <p:outlineViewPr>
    <p:cViewPr>
      <p:scale>
        <a:sx n="33" d="100"/>
        <a:sy n="33" d="100"/>
      </p:scale>
      <p:origin x="0" y="-144"/>
    </p:cViewPr>
  </p:outlineViewPr>
  <p:notesTextViewPr>
    <p:cViewPr>
      <p:scale>
        <a:sx n="3" d="2"/>
        <a:sy n="3" d="2"/>
      </p:scale>
      <p:origin x="0" y="0"/>
    </p:cViewPr>
  </p:notesTextViewPr>
  <p:sorterViewPr>
    <p:cViewPr varScale="1">
      <p:scale>
        <a:sx n="1" d="1"/>
        <a:sy n="1" d="1"/>
      </p:scale>
      <p:origin x="0" y="-2668"/>
    </p:cViewPr>
  </p:sorterViewPr>
  <p:notesViewPr>
    <p:cSldViewPr showGuides="1">
      <p:cViewPr varScale="1">
        <p:scale>
          <a:sx n="84" d="100"/>
          <a:sy n="84" d="100"/>
        </p:scale>
        <p:origin x="2856" y="102"/>
      </p:cViewPr>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18"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olk, Moiken" userId="S::moiken.wolk@dfb.de::4f31ae1a-efc9-4f05-80e5-ec9d58258cc3" providerId="AD" clId="Web-{2B080CF8-BFB4-4B8E-A8AC-A269D9ED7035}"/>
    <pc:docChg chg="addSld modSld">
      <pc:chgData name="Wolk, Moiken" userId="S::moiken.wolk@dfb.de::4f31ae1a-efc9-4f05-80e5-ec9d58258cc3" providerId="AD" clId="Web-{2B080CF8-BFB4-4B8E-A8AC-A269D9ED7035}" dt="2020-09-21T06:39:28.893" v="1129"/>
      <pc:docMkLst>
        <pc:docMk/>
      </pc:docMkLst>
      <pc:sldChg chg="delSp modSp">
        <pc:chgData name="Wolk, Moiken" userId="S::moiken.wolk@dfb.de::4f31ae1a-efc9-4f05-80e5-ec9d58258cc3" providerId="AD" clId="Web-{2B080CF8-BFB4-4B8E-A8AC-A269D9ED7035}" dt="2020-09-21T06:39:18.518" v="1128" actId="20577"/>
        <pc:sldMkLst>
          <pc:docMk/>
          <pc:sldMk cId="3049738457" sldId="288"/>
        </pc:sldMkLst>
        <pc:spChg chg="mod">
          <ac:chgData name="Wolk, Moiken" userId="S::moiken.wolk@dfb.de::4f31ae1a-efc9-4f05-80e5-ec9d58258cc3" providerId="AD" clId="Web-{2B080CF8-BFB4-4B8E-A8AC-A269D9ED7035}" dt="2020-09-21T06:22:48.810" v="194" actId="20577"/>
          <ac:spMkLst>
            <pc:docMk/>
            <pc:sldMk cId="3049738457" sldId="288"/>
            <ac:spMk id="2" creationId="{00000000-0000-0000-0000-000000000000}"/>
          </ac:spMkLst>
        </pc:spChg>
        <pc:spChg chg="mod">
          <ac:chgData name="Wolk, Moiken" userId="S::moiken.wolk@dfb.de::4f31ae1a-efc9-4f05-80e5-ec9d58258cc3" providerId="AD" clId="Web-{2B080CF8-BFB4-4B8E-A8AC-A269D9ED7035}" dt="2020-09-21T06:21:25.757" v="72" actId="20577"/>
          <ac:spMkLst>
            <pc:docMk/>
            <pc:sldMk cId="3049738457" sldId="288"/>
            <ac:spMk id="6" creationId="{00000000-0000-0000-0000-000000000000}"/>
          </ac:spMkLst>
        </pc:spChg>
        <pc:spChg chg="mod">
          <ac:chgData name="Wolk, Moiken" userId="S::moiken.wolk@dfb.de::4f31ae1a-efc9-4f05-80e5-ec9d58258cc3" providerId="AD" clId="Web-{2B080CF8-BFB4-4B8E-A8AC-A269D9ED7035}" dt="2020-09-21T06:37:46.074" v="1090" actId="20577"/>
          <ac:spMkLst>
            <pc:docMk/>
            <pc:sldMk cId="3049738457" sldId="288"/>
            <ac:spMk id="9" creationId="{00000000-0000-0000-0000-000000000000}"/>
          </ac:spMkLst>
        </pc:spChg>
        <pc:spChg chg="mod">
          <ac:chgData name="Wolk, Moiken" userId="S::moiken.wolk@dfb.de::4f31ae1a-efc9-4f05-80e5-ec9d58258cc3" providerId="AD" clId="Web-{2B080CF8-BFB4-4B8E-A8AC-A269D9ED7035}" dt="2020-09-21T06:39:18.518" v="1128" actId="20577"/>
          <ac:spMkLst>
            <pc:docMk/>
            <pc:sldMk cId="3049738457" sldId="288"/>
            <ac:spMk id="11" creationId="{00000000-0000-0000-0000-000000000000}"/>
          </ac:spMkLst>
        </pc:spChg>
        <pc:spChg chg="mod">
          <ac:chgData name="Wolk, Moiken" userId="S::moiken.wolk@dfb.de::4f31ae1a-efc9-4f05-80e5-ec9d58258cc3" providerId="AD" clId="Web-{2B080CF8-BFB4-4B8E-A8AC-A269D9ED7035}" dt="2020-09-21T06:23:28.938" v="230" actId="20577"/>
          <ac:spMkLst>
            <pc:docMk/>
            <pc:sldMk cId="3049738457" sldId="288"/>
            <ac:spMk id="12" creationId="{00000000-0000-0000-0000-000000000000}"/>
          </ac:spMkLst>
        </pc:spChg>
        <pc:spChg chg="del mod">
          <ac:chgData name="Wolk, Moiken" userId="S::moiken.wolk@dfb.de::4f31ae1a-efc9-4f05-80e5-ec9d58258cc3" providerId="AD" clId="Web-{2B080CF8-BFB4-4B8E-A8AC-A269D9ED7035}" dt="2020-09-21T06:38:10.482" v="1092"/>
          <ac:spMkLst>
            <pc:docMk/>
            <pc:sldMk cId="3049738457" sldId="288"/>
            <ac:spMk id="13" creationId="{00000000-0000-0000-0000-000000000000}"/>
          </ac:spMkLst>
        </pc:spChg>
        <pc:spChg chg="del mod">
          <ac:chgData name="Wolk, Moiken" userId="S::moiken.wolk@dfb.de::4f31ae1a-efc9-4f05-80e5-ec9d58258cc3" providerId="AD" clId="Web-{2B080CF8-BFB4-4B8E-A8AC-A269D9ED7035}" dt="2020-09-21T06:38:18.795" v="1094"/>
          <ac:spMkLst>
            <pc:docMk/>
            <pc:sldMk cId="3049738457" sldId="288"/>
            <ac:spMk id="14" creationId="{00000000-0000-0000-0000-000000000000}"/>
          </ac:spMkLst>
        </pc:spChg>
        <pc:spChg chg="mod">
          <ac:chgData name="Wolk, Moiken" userId="S::moiken.wolk@dfb.de::4f31ae1a-efc9-4f05-80e5-ec9d58258cc3" providerId="AD" clId="Web-{2B080CF8-BFB4-4B8E-A8AC-A269D9ED7035}" dt="2020-09-21T06:21:04.600" v="47" actId="20577"/>
          <ac:spMkLst>
            <pc:docMk/>
            <pc:sldMk cId="3049738457" sldId="288"/>
            <ac:spMk id="43" creationId="{00000000-0000-0000-0000-000000000000}"/>
          </ac:spMkLst>
        </pc:spChg>
      </pc:sldChg>
      <pc:sldChg chg="add replId">
        <pc:chgData name="Wolk, Moiken" userId="S::moiken.wolk@dfb.de::4f31ae1a-efc9-4f05-80e5-ec9d58258cc3" providerId="AD" clId="Web-{2B080CF8-BFB4-4B8E-A8AC-A269D9ED7035}" dt="2020-09-21T06:39:28.893" v="1129"/>
        <pc:sldMkLst>
          <pc:docMk/>
          <pc:sldMk cId="718620115" sldId="361"/>
        </pc:sldMkLst>
      </pc:sldChg>
    </pc:docChg>
  </pc:docChgLst>
  <pc:docChgLst>
    <pc:chgData name="Andreas Schröter" userId="S::andreas.schroeter@hfv-online.de::cd3701b5-2d10-46a4-9536-f48ca4e77ac1" providerId="AD" clId="Web-{61AE7B1E-1865-CB8C-4672-B3C992C24FA9}"/>
    <pc:docChg chg="addSld delSld modSld">
      <pc:chgData name="Andreas Schröter" userId="S::andreas.schroeter@hfv-online.de::cd3701b5-2d10-46a4-9536-f48ca4e77ac1" providerId="AD" clId="Web-{61AE7B1E-1865-CB8C-4672-B3C992C24FA9}" dt="2022-01-07T13:52:55.727" v="266"/>
      <pc:docMkLst>
        <pc:docMk/>
      </pc:docMkLst>
      <pc:sldChg chg="delSp modSp">
        <pc:chgData name="Andreas Schröter" userId="S::andreas.schroeter@hfv-online.de::cd3701b5-2d10-46a4-9536-f48ca4e77ac1" providerId="AD" clId="Web-{61AE7B1E-1865-CB8C-4672-B3C992C24FA9}" dt="2022-01-07T13:31:27.906" v="20"/>
        <pc:sldMkLst>
          <pc:docMk/>
          <pc:sldMk cId="1254673291" sldId="275"/>
        </pc:sldMkLst>
        <pc:spChg chg="mod">
          <ac:chgData name="Andreas Schröter" userId="S::andreas.schroeter@hfv-online.de::cd3701b5-2d10-46a4-9536-f48ca4e77ac1" providerId="AD" clId="Web-{61AE7B1E-1865-CB8C-4672-B3C992C24FA9}" dt="2022-01-07T13:30:59.765" v="2" actId="20577"/>
          <ac:spMkLst>
            <pc:docMk/>
            <pc:sldMk cId="1254673291" sldId="275"/>
            <ac:spMk id="6" creationId="{00000000-0000-0000-0000-000000000000}"/>
          </ac:spMkLst>
        </pc:spChg>
        <pc:spChg chg="mod">
          <ac:chgData name="Andreas Schröter" userId="S::andreas.schroeter@hfv-online.de::cd3701b5-2d10-46a4-9536-f48ca4e77ac1" providerId="AD" clId="Web-{61AE7B1E-1865-CB8C-4672-B3C992C24FA9}" dt="2022-01-07T13:31:08.984" v="12" actId="20577"/>
          <ac:spMkLst>
            <pc:docMk/>
            <pc:sldMk cId="1254673291" sldId="275"/>
            <ac:spMk id="7" creationId="{00000000-0000-0000-0000-000000000000}"/>
          </ac:spMkLst>
        </pc:spChg>
        <pc:spChg chg="mod">
          <ac:chgData name="Andreas Schröter" userId="S::andreas.schroeter@hfv-online.de::cd3701b5-2d10-46a4-9536-f48ca4e77ac1" providerId="AD" clId="Web-{61AE7B1E-1865-CB8C-4672-B3C992C24FA9}" dt="2022-01-07T13:31:24.390" v="19" actId="20577"/>
          <ac:spMkLst>
            <pc:docMk/>
            <pc:sldMk cId="1254673291" sldId="275"/>
            <ac:spMk id="8" creationId="{00000000-0000-0000-0000-000000000000}"/>
          </ac:spMkLst>
        </pc:spChg>
        <pc:spChg chg="del">
          <ac:chgData name="Andreas Schröter" userId="S::andreas.schroeter@hfv-online.de::cd3701b5-2d10-46a4-9536-f48ca4e77ac1" providerId="AD" clId="Web-{61AE7B1E-1865-CB8C-4672-B3C992C24FA9}" dt="2022-01-07T13:31:27.906" v="20"/>
          <ac:spMkLst>
            <pc:docMk/>
            <pc:sldMk cId="1254673291" sldId="275"/>
            <ac:spMk id="9" creationId="{00000000-0000-0000-0000-000000000000}"/>
          </ac:spMkLst>
        </pc:spChg>
      </pc:sldChg>
      <pc:sldChg chg="del">
        <pc:chgData name="Andreas Schröter" userId="S::andreas.schroeter@hfv-online.de::cd3701b5-2d10-46a4-9536-f48ca4e77ac1" providerId="AD" clId="Web-{61AE7B1E-1865-CB8C-4672-B3C992C24FA9}" dt="2022-01-07T13:31:33.484" v="21"/>
        <pc:sldMkLst>
          <pc:docMk/>
          <pc:sldMk cId="763554063" sldId="276"/>
        </pc:sldMkLst>
      </pc:sldChg>
      <pc:sldChg chg="modSp">
        <pc:chgData name="Andreas Schröter" userId="S::andreas.schroeter@hfv-online.de::cd3701b5-2d10-46a4-9536-f48ca4e77ac1" providerId="AD" clId="Web-{61AE7B1E-1865-CB8C-4672-B3C992C24FA9}" dt="2022-01-07T13:31:54.969" v="39" actId="20577"/>
        <pc:sldMkLst>
          <pc:docMk/>
          <pc:sldMk cId="2660106296" sldId="277"/>
        </pc:sldMkLst>
        <pc:spChg chg="mod">
          <ac:chgData name="Andreas Schröter" userId="S::andreas.schroeter@hfv-online.de::cd3701b5-2d10-46a4-9536-f48ca4e77ac1" providerId="AD" clId="Web-{61AE7B1E-1865-CB8C-4672-B3C992C24FA9}" dt="2022-01-07T13:31:54.969" v="39" actId="20577"/>
          <ac:spMkLst>
            <pc:docMk/>
            <pc:sldMk cId="2660106296" sldId="277"/>
            <ac:spMk id="5" creationId="{00000000-0000-0000-0000-000000000000}"/>
          </ac:spMkLst>
        </pc:spChg>
      </pc:sldChg>
      <pc:sldChg chg="delSp modSp">
        <pc:chgData name="Andreas Schröter" userId="S::andreas.schroeter@hfv-online.de::cd3701b5-2d10-46a4-9536-f48ca4e77ac1" providerId="AD" clId="Web-{61AE7B1E-1865-CB8C-4672-B3C992C24FA9}" dt="2022-01-07T13:49:40.696" v="143" actId="20577"/>
        <pc:sldMkLst>
          <pc:docMk/>
          <pc:sldMk cId="1167228532" sldId="278"/>
        </pc:sldMkLst>
        <pc:spChg chg="mod">
          <ac:chgData name="Andreas Schröter" userId="S::andreas.schroeter@hfv-online.de::cd3701b5-2d10-46a4-9536-f48ca4e77ac1" providerId="AD" clId="Web-{61AE7B1E-1865-CB8C-4672-B3C992C24FA9}" dt="2022-01-07T13:47:44.108" v="70" actId="20577"/>
          <ac:spMkLst>
            <pc:docMk/>
            <pc:sldMk cId="1167228532" sldId="278"/>
            <ac:spMk id="8" creationId="{00000000-0000-0000-0000-000000000000}"/>
          </ac:spMkLst>
        </pc:spChg>
        <pc:spChg chg="mod">
          <ac:chgData name="Andreas Schröter" userId="S::andreas.schroeter@hfv-online.de::cd3701b5-2d10-46a4-9536-f48ca4e77ac1" providerId="AD" clId="Web-{61AE7B1E-1865-CB8C-4672-B3C992C24FA9}" dt="2022-01-07T13:49:40.696" v="143" actId="20577"/>
          <ac:spMkLst>
            <pc:docMk/>
            <pc:sldMk cId="1167228532" sldId="278"/>
            <ac:spMk id="9" creationId="{00000000-0000-0000-0000-000000000000}"/>
          </ac:spMkLst>
        </pc:spChg>
        <pc:spChg chg="mod">
          <ac:chgData name="Andreas Schröter" userId="S::andreas.schroeter@hfv-online.de::cd3701b5-2d10-46a4-9536-f48ca4e77ac1" providerId="AD" clId="Web-{61AE7B1E-1865-CB8C-4672-B3C992C24FA9}" dt="2022-01-07T13:48:06.641" v="86" actId="20577"/>
          <ac:spMkLst>
            <pc:docMk/>
            <pc:sldMk cId="1167228532" sldId="278"/>
            <ac:spMk id="26" creationId="{00000000-0000-0000-0000-000000000000}"/>
          </ac:spMkLst>
        </pc:spChg>
        <pc:grpChg chg="del">
          <ac:chgData name="Andreas Schröter" userId="S::andreas.schroeter@hfv-online.de::cd3701b5-2d10-46a4-9536-f48ca4e77ac1" providerId="AD" clId="Web-{61AE7B1E-1865-CB8C-4672-B3C992C24FA9}" dt="2022-01-07T13:48:09.110" v="87"/>
          <ac:grpSpMkLst>
            <pc:docMk/>
            <pc:sldMk cId="1167228532" sldId="278"/>
            <ac:grpSpMk id="54" creationId="{00000000-0000-0000-0000-000000000000}"/>
          </ac:grpSpMkLst>
        </pc:grpChg>
        <pc:grpChg chg="del">
          <ac:chgData name="Andreas Schröter" userId="S::andreas.schroeter@hfv-online.de::cd3701b5-2d10-46a4-9536-f48ca4e77ac1" providerId="AD" clId="Web-{61AE7B1E-1865-CB8C-4672-B3C992C24FA9}" dt="2022-01-07T13:48:11.532" v="88"/>
          <ac:grpSpMkLst>
            <pc:docMk/>
            <pc:sldMk cId="1167228532" sldId="278"/>
            <ac:grpSpMk id="66" creationId="{00000000-0000-0000-0000-000000000000}"/>
          </ac:grpSpMkLst>
        </pc:grpChg>
        <pc:cxnChg chg="mod">
          <ac:chgData name="Andreas Schröter" userId="S::andreas.schroeter@hfv-online.de::cd3701b5-2d10-46a4-9536-f48ca4e77ac1" providerId="AD" clId="Web-{61AE7B1E-1865-CB8C-4672-B3C992C24FA9}" dt="2022-01-07T13:48:09.110" v="87"/>
          <ac:cxnSpMkLst>
            <pc:docMk/>
            <pc:sldMk cId="1167228532" sldId="278"/>
            <ac:cxnSpMk id="34" creationId="{00000000-0000-0000-0000-000000000000}"/>
          </ac:cxnSpMkLst>
        </pc:cxnChg>
        <pc:cxnChg chg="mod">
          <ac:chgData name="Andreas Schröter" userId="S::andreas.schroeter@hfv-online.de::cd3701b5-2d10-46a4-9536-f48ca4e77ac1" providerId="AD" clId="Web-{61AE7B1E-1865-CB8C-4672-B3C992C24FA9}" dt="2022-01-07T13:48:09.110" v="87"/>
          <ac:cxnSpMkLst>
            <pc:docMk/>
            <pc:sldMk cId="1167228532" sldId="278"/>
            <ac:cxnSpMk id="35" creationId="{00000000-0000-0000-0000-000000000000}"/>
          </ac:cxnSpMkLst>
        </pc:cxnChg>
        <pc:cxnChg chg="mod">
          <ac:chgData name="Andreas Schröter" userId="S::andreas.schroeter@hfv-online.de::cd3701b5-2d10-46a4-9536-f48ca4e77ac1" providerId="AD" clId="Web-{61AE7B1E-1865-CB8C-4672-B3C992C24FA9}" dt="2022-01-07T13:48:09.110" v="87"/>
          <ac:cxnSpMkLst>
            <pc:docMk/>
            <pc:sldMk cId="1167228532" sldId="278"/>
            <ac:cxnSpMk id="38" creationId="{00000000-0000-0000-0000-000000000000}"/>
          </ac:cxnSpMkLst>
        </pc:cxnChg>
        <pc:cxnChg chg="mod">
          <ac:chgData name="Andreas Schröter" userId="S::andreas.schroeter@hfv-online.de::cd3701b5-2d10-46a4-9536-f48ca4e77ac1" providerId="AD" clId="Web-{61AE7B1E-1865-CB8C-4672-B3C992C24FA9}" dt="2022-01-07T13:48:09.110" v="87"/>
          <ac:cxnSpMkLst>
            <pc:docMk/>
            <pc:sldMk cId="1167228532" sldId="278"/>
            <ac:cxnSpMk id="41" creationId="{00000000-0000-0000-0000-000000000000}"/>
          </ac:cxnSpMkLst>
        </pc:cxnChg>
        <pc:cxnChg chg="mod">
          <ac:chgData name="Andreas Schröter" userId="S::andreas.schroeter@hfv-online.de::cd3701b5-2d10-46a4-9536-f48ca4e77ac1" providerId="AD" clId="Web-{61AE7B1E-1865-CB8C-4672-B3C992C24FA9}" dt="2022-01-07T13:48:09.110" v="87"/>
          <ac:cxnSpMkLst>
            <pc:docMk/>
            <pc:sldMk cId="1167228532" sldId="278"/>
            <ac:cxnSpMk id="56" creationId="{00000000-0000-0000-0000-000000000000}"/>
          </ac:cxnSpMkLst>
        </pc:cxnChg>
        <pc:cxnChg chg="mod">
          <ac:chgData name="Andreas Schröter" userId="S::andreas.schroeter@hfv-online.de::cd3701b5-2d10-46a4-9536-f48ca4e77ac1" providerId="AD" clId="Web-{61AE7B1E-1865-CB8C-4672-B3C992C24FA9}" dt="2022-01-07T13:48:09.110" v="87"/>
          <ac:cxnSpMkLst>
            <pc:docMk/>
            <pc:sldMk cId="1167228532" sldId="278"/>
            <ac:cxnSpMk id="59" creationId="{00000000-0000-0000-0000-000000000000}"/>
          </ac:cxnSpMkLst>
        </pc:cxnChg>
      </pc:sldChg>
      <pc:sldChg chg="del">
        <pc:chgData name="Andreas Schröter" userId="S::andreas.schroeter@hfv-online.de::cd3701b5-2d10-46a4-9536-f48ca4e77ac1" providerId="AD" clId="Web-{61AE7B1E-1865-CB8C-4672-B3C992C24FA9}" dt="2022-01-07T13:51:37.752" v="202"/>
        <pc:sldMkLst>
          <pc:docMk/>
          <pc:sldMk cId="931533850" sldId="281"/>
        </pc:sldMkLst>
      </pc:sldChg>
      <pc:sldChg chg="del">
        <pc:chgData name="Andreas Schröter" userId="S::andreas.schroeter@hfv-online.de::cd3701b5-2d10-46a4-9536-f48ca4e77ac1" providerId="AD" clId="Web-{61AE7B1E-1865-CB8C-4672-B3C992C24FA9}" dt="2022-01-07T13:51:39.252" v="203"/>
        <pc:sldMkLst>
          <pc:docMk/>
          <pc:sldMk cId="1627252434" sldId="282"/>
        </pc:sldMkLst>
      </pc:sldChg>
      <pc:sldChg chg="del">
        <pc:chgData name="Andreas Schröter" userId="S::andreas.schroeter@hfv-online.de::cd3701b5-2d10-46a4-9536-f48ca4e77ac1" providerId="AD" clId="Web-{61AE7B1E-1865-CB8C-4672-B3C992C24FA9}" dt="2022-01-07T13:51:40.362" v="204"/>
        <pc:sldMkLst>
          <pc:docMk/>
          <pc:sldMk cId="194892878" sldId="283"/>
        </pc:sldMkLst>
      </pc:sldChg>
      <pc:sldChg chg="add del">
        <pc:chgData name="Andreas Schröter" userId="S::andreas.schroeter@hfv-online.de::cd3701b5-2d10-46a4-9536-f48ca4e77ac1" providerId="AD" clId="Web-{61AE7B1E-1865-CB8C-4672-B3C992C24FA9}" dt="2022-01-07T13:51:47.003" v="208"/>
        <pc:sldMkLst>
          <pc:docMk/>
          <pc:sldMk cId="2493086461" sldId="285"/>
        </pc:sldMkLst>
      </pc:sldChg>
      <pc:sldChg chg="del">
        <pc:chgData name="Andreas Schröter" userId="S::andreas.schroeter@hfv-online.de::cd3701b5-2d10-46a4-9536-f48ca4e77ac1" providerId="AD" clId="Web-{61AE7B1E-1865-CB8C-4672-B3C992C24FA9}" dt="2022-01-07T13:51:50.128" v="209"/>
        <pc:sldMkLst>
          <pc:docMk/>
          <pc:sldMk cId="3049738457" sldId="288"/>
        </pc:sldMkLst>
      </pc:sldChg>
      <pc:sldChg chg="del">
        <pc:chgData name="Andreas Schröter" userId="S::andreas.schroeter@hfv-online.de::cd3701b5-2d10-46a4-9536-f48ca4e77ac1" providerId="AD" clId="Web-{61AE7B1E-1865-CB8C-4672-B3C992C24FA9}" dt="2022-01-07T13:51:52.753" v="211"/>
        <pc:sldMkLst>
          <pc:docMk/>
          <pc:sldMk cId="789351483" sldId="289"/>
        </pc:sldMkLst>
      </pc:sldChg>
      <pc:sldChg chg="del">
        <pc:chgData name="Andreas Schröter" userId="S::andreas.schroeter@hfv-online.de::cd3701b5-2d10-46a4-9536-f48ca4e77ac1" providerId="AD" clId="Web-{61AE7B1E-1865-CB8C-4672-B3C992C24FA9}" dt="2022-01-07T13:51:53.831" v="212"/>
        <pc:sldMkLst>
          <pc:docMk/>
          <pc:sldMk cId="2986098420" sldId="290"/>
        </pc:sldMkLst>
      </pc:sldChg>
      <pc:sldChg chg="del">
        <pc:chgData name="Andreas Schröter" userId="S::andreas.schroeter@hfv-online.de::cd3701b5-2d10-46a4-9536-f48ca4e77ac1" providerId="AD" clId="Web-{61AE7B1E-1865-CB8C-4672-B3C992C24FA9}" dt="2022-01-07T13:51:55.347" v="213"/>
        <pc:sldMkLst>
          <pc:docMk/>
          <pc:sldMk cId="3337949010" sldId="291"/>
        </pc:sldMkLst>
      </pc:sldChg>
      <pc:sldChg chg="del">
        <pc:chgData name="Andreas Schröter" userId="S::andreas.schroeter@hfv-online.de::cd3701b5-2d10-46a4-9536-f48ca4e77ac1" providerId="AD" clId="Web-{61AE7B1E-1865-CB8C-4672-B3C992C24FA9}" dt="2022-01-07T13:52:03.160" v="220"/>
        <pc:sldMkLst>
          <pc:docMk/>
          <pc:sldMk cId="2641853286" sldId="293"/>
        </pc:sldMkLst>
      </pc:sldChg>
      <pc:sldChg chg="del">
        <pc:chgData name="Andreas Schröter" userId="S::andreas.schroeter@hfv-online.de::cd3701b5-2d10-46a4-9536-f48ca4e77ac1" providerId="AD" clId="Web-{61AE7B1E-1865-CB8C-4672-B3C992C24FA9}" dt="2022-01-07T13:52:04.254" v="221"/>
        <pc:sldMkLst>
          <pc:docMk/>
          <pc:sldMk cId="2843082084" sldId="294"/>
        </pc:sldMkLst>
      </pc:sldChg>
      <pc:sldChg chg="del">
        <pc:chgData name="Andreas Schröter" userId="S::andreas.schroeter@hfv-online.de::cd3701b5-2d10-46a4-9536-f48ca4e77ac1" providerId="AD" clId="Web-{61AE7B1E-1865-CB8C-4672-B3C992C24FA9}" dt="2022-01-07T13:52:05.364" v="222"/>
        <pc:sldMkLst>
          <pc:docMk/>
          <pc:sldMk cId="3560852661" sldId="295"/>
        </pc:sldMkLst>
      </pc:sldChg>
      <pc:sldChg chg="del">
        <pc:chgData name="Andreas Schröter" userId="S::andreas.schroeter@hfv-online.de::cd3701b5-2d10-46a4-9536-f48ca4e77ac1" providerId="AD" clId="Web-{61AE7B1E-1865-CB8C-4672-B3C992C24FA9}" dt="2022-01-07T13:52:05.692" v="223"/>
        <pc:sldMkLst>
          <pc:docMk/>
          <pc:sldMk cId="2314233597" sldId="296"/>
        </pc:sldMkLst>
      </pc:sldChg>
      <pc:sldChg chg="del">
        <pc:chgData name="Andreas Schröter" userId="S::andreas.schroeter@hfv-online.de::cd3701b5-2d10-46a4-9536-f48ca4e77ac1" providerId="AD" clId="Web-{61AE7B1E-1865-CB8C-4672-B3C992C24FA9}" dt="2022-01-07T13:52:10.083" v="224"/>
        <pc:sldMkLst>
          <pc:docMk/>
          <pc:sldMk cId="511520760" sldId="297"/>
        </pc:sldMkLst>
      </pc:sldChg>
      <pc:sldChg chg="del">
        <pc:chgData name="Andreas Schröter" userId="S::andreas.schroeter@hfv-online.de::cd3701b5-2d10-46a4-9536-f48ca4e77ac1" providerId="AD" clId="Web-{61AE7B1E-1865-CB8C-4672-B3C992C24FA9}" dt="2022-01-07T13:52:11.942" v="225"/>
        <pc:sldMkLst>
          <pc:docMk/>
          <pc:sldMk cId="863826403" sldId="298"/>
        </pc:sldMkLst>
      </pc:sldChg>
      <pc:sldChg chg="del">
        <pc:chgData name="Andreas Schröter" userId="S::andreas.schroeter@hfv-online.de::cd3701b5-2d10-46a4-9536-f48ca4e77ac1" providerId="AD" clId="Web-{61AE7B1E-1865-CB8C-4672-B3C992C24FA9}" dt="2022-01-07T13:52:13.067" v="226"/>
        <pc:sldMkLst>
          <pc:docMk/>
          <pc:sldMk cId="4104495176" sldId="299"/>
        </pc:sldMkLst>
      </pc:sldChg>
      <pc:sldChg chg="del">
        <pc:chgData name="Andreas Schröter" userId="S::andreas.schroeter@hfv-online.de::cd3701b5-2d10-46a4-9536-f48ca4e77ac1" providerId="AD" clId="Web-{61AE7B1E-1865-CB8C-4672-B3C992C24FA9}" dt="2022-01-07T13:52:14.192" v="227"/>
        <pc:sldMkLst>
          <pc:docMk/>
          <pc:sldMk cId="1594982969" sldId="300"/>
        </pc:sldMkLst>
      </pc:sldChg>
      <pc:sldChg chg="del">
        <pc:chgData name="Andreas Schröter" userId="S::andreas.schroeter@hfv-online.de::cd3701b5-2d10-46a4-9536-f48ca4e77ac1" providerId="AD" clId="Web-{61AE7B1E-1865-CB8C-4672-B3C992C24FA9}" dt="2022-01-07T13:52:15.099" v="228"/>
        <pc:sldMkLst>
          <pc:docMk/>
          <pc:sldMk cId="142468045" sldId="301"/>
        </pc:sldMkLst>
      </pc:sldChg>
      <pc:sldChg chg="del">
        <pc:chgData name="Andreas Schröter" userId="S::andreas.schroeter@hfv-online.de::cd3701b5-2d10-46a4-9536-f48ca4e77ac1" providerId="AD" clId="Web-{61AE7B1E-1865-CB8C-4672-B3C992C24FA9}" dt="2022-01-07T13:52:26.225" v="231"/>
        <pc:sldMkLst>
          <pc:docMk/>
          <pc:sldMk cId="2240740752" sldId="303"/>
        </pc:sldMkLst>
      </pc:sldChg>
      <pc:sldChg chg="del">
        <pc:chgData name="Andreas Schröter" userId="S::andreas.schroeter@hfv-online.de::cd3701b5-2d10-46a4-9536-f48ca4e77ac1" providerId="AD" clId="Web-{61AE7B1E-1865-CB8C-4672-B3C992C24FA9}" dt="2022-01-07T13:52:27.772" v="232"/>
        <pc:sldMkLst>
          <pc:docMk/>
          <pc:sldMk cId="749166290" sldId="304"/>
        </pc:sldMkLst>
      </pc:sldChg>
      <pc:sldChg chg="del">
        <pc:chgData name="Andreas Schröter" userId="S::andreas.schroeter@hfv-online.de::cd3701b5-2d10-46a4-9536-f48ca4e77ac1" providerId="AD" clId="Web-{61AE7B1E-1865-CB8C-4672-B3C992C24FA9}" dt="2022-01-07T13:52:30.662" v="233"/>
        <pc:sldMkLst>
          <pc:docMk/>
          <pc:sldMk cId="3811150166" sldId="305"/>
        </pc:sldMkLst>
      </pc:sldChg>
      <pc:sldChg chg="del">
        <pc:chgData name="Andreas Schröter" userId="S::andreas.schroeter@hfv-online.de::cd3701b5-2d10-46a4-9536-f48ca4e77ac1" providerId="AD" clId="Web-{61AE7B1E-1865-CB8C-4672-B3C992C24FA9}" dt="2022-01-07T13:52:40.195" v="234"/>
        <pc:sldMkLst>
          <pc:docMk/>
          <pc:sldMk cId="1419302063" sldId="306"/>
        </pc:sldMkLst>
      </pc:sldChg>
      <pc:sldChg chg="del">
        <pc:chgData name="Andreas Schröter" userId="S::andreas.schroeter@hfv-online.de::cd3701b5-2d10-46a4-9536-f48ca4e77ac1" providerId="AD" clId="Web-{61AE7B1E-1865-CB8C-4672-B3C992C24FA9}" dt="2022-01-07T13:52:42.304" v="236"/>
        <pc:sldMkLst>
          <pc:docMk/>
          <pc:sldMk cId="2758507764" sldId="307"/>
        </pc:sldMkLst>
      </pc:sldChg>
      <pc:sldChg chg="del">
        <pc:chgData name="Andreas Schröter" userId="S::andreas.schroeter@hfv-online.de::cd3701b5-2d10-46a4-9536-f48ca4e77ac1" providerId="AD" clId="Web-{61AE7B1E-1865-CB8C-4672-B3C992C24FA9}" dt="2022-01-07T13:52:43.664" v="237"/>
        <pc:sldMkLst>
          <pc:docMk/>
          <pc:sldMk cId="2934079669" sldId="308"/>
        </pc:sldMkLst>
      </pc:sldChg>
      <pc:sldChg chg="del">
        <pc:chgData name="Andreas Schröter" userId="S::andreas.schroeter@hfv-online.de::cd3701b5-2d10-46a4-9536-f48ca4e77ac1" providerId="AD" clId="Web-{61AE7B1E-1865-CB8C-4672-B3C992C24FA9}" dt="2022-01-07T13:52:44.585" v="238"/>
        <pc:sldMkLst>
          <pc:docMk/>
          <pc:sldMk cId="3950406612" sldId="309"/>
        </pc:sldMkLst>
      </pc:sldChg>
      <pc:sldChg chg="del">
        <pc:chgData name="Andreas Schröter" userId="S::andreas.schroeter@hfv-online.de::cd3701b5-2d10-46a4-9536-f48ca4e77ac1" providerId="AD" clId="Web-{61AE7B1E-1865-CB8C-4672-B3C992C24FA9}" dt="2022-01-07T13:52:55.727" v="266"/>
        <pc:sldMkLst>
          <pc:docMk/>
          <pc:sldMk cId="2801862318" sldId="310"/>
        </pc:sldMkLst>
      </pc:sldChg>
      <pc:sldChg chg="del">
        <pc:chgData name="Andreas Schröter" userId="S::andreas.schroeter@hfv-online.de::cd3701b5-2d10-46a4-9536-f48ca4e77ac1" providerId="AD" clId="Web-{61AE7B1E-1865-CB8C-4672-B3C992C24FA9}" dt="2022-01-07T13:52:55.727" v="265"/>
        <pc:sldMkLst>
          <pc:docMk/>
          <pc:sldMk cId="1893853910" sldId="311"/>
        </pc:sldMkLst>
      </pc:sldChg>
      <pc:sldChg chg="del">
        <pc:chgData name="Andreas Schröter" userId="S::andreas.schroeter@hfv-online.de::cd3701b5-2d10-46a4-9536-f48ca4e77ac1" providerId="AD" clId="Web-{61AE7B1E-1865-CB8C-4672-B3C992C24FA9}" dt="2022-01-07T13:52:55.727" v="264"/>
        <pc:sldMkLst>
          <pc:docMk/>
          <pc:sldMk cId="376049427" sldId="312"/>
        </pc:sldMkLst>
      </pc:sldChg>
      <pc:sldChg chg="del">
        <pc:chgData name="Andreas Schröter" userId="S::andreas.schroeter@hfv-online.de::cd3701b5-2d10-46a4-9536-f48ca4e77ac1" providerId="AD" clId="Web-{61AE7B1E-1865-CB8C-4672-B3C992C24FA9}" dt="2022-01-07T13:52:55.727" v="263"/>
        <pc:sldMkLst>
          <pc:docMk/>
          <pc:sldMk cId="3362953159" sldId="313"/>
        </pc:sldMkLst>
      </pc:sldChg>
      <pc:sldChg chg="del">
        <pc:chgData name="Andreas Schröter" userId="S::andreas.schroeter@hfv-online.de::cd3701b5-2d10-46a4-9536-f48ca4e77ac1" providerId="AD" clId="Web-{61AE7B1E-1865-CB8C-4672-B3C992C24FA9}" dt="2022-01-07T13:52:55.711" v="262"/>
        <pc:sldMkLst>
          <pc:docMk/>
          <pc:sldMk cId="3111834397" sldId="314"/>
        </pc:sldMkLst>
      </pc:sldChg>
      <pc:sldChg chg="del">
        <pc:chgData name="Andreas Schröter" userId="S::andreas.schroeter@hfv-online.de::cd3701b5-2d10-46a4-9536-f48ca4e77ac1" providerId="AD" clId="Web-{61AE7B1E-1865-CB8C-4672-B3C992C24FA9}" dt="2022-01-07T13:52:55.711" v="261"/>
        <pc:sldMkLst>
          <pc:docMk/>
          <pc:sldMk cId="1640554156" sldId="315"/>
        </pc:sldMkLst>
      </pc:sldChg>
      <pc:sldChg chg="del">
        <pc:chgData name="Andreas Schröter" userId="S::andreas.schroeter@hfv-online.de::cd3701b5-2d10-46a4-9536-f48ca4e77ac1" providerId="AD" clId="Web-{61AE7B1E-1865-CB8C-4672-B3C992C24FA9}" dt="2022-01-07T13:52:55.711" v="260"/>
        <pc:sldMkLst>
          <pc:docMk/>
          <pc:sldMk cId="2473296647" sldId="316"/>
        </pc:sldMkLst>
      </pc:sldChg>
      <pc:sldChg chg="del">
        <pc:chgData name="Andreas Schröter" userId="S::andreas.schroeter@hfv-online.de::cd3701b5-2d10-46a4-9536-f48ca4e77ac1" providerId="AD" clId="Web-{61AE7B1E-1865-CB8C-4672-B3C992C24FA9}" dt="2022-01-07T13:52:55.711" v="259"/>
        <pc:sldMkLst>
          <pc:docMk/>
          <pc:sldMk cId="2905589408" sldId="317"/>
        </pc:sldMkLst>
      </pc:sldChg>
      <pc:sldChg chg="del">
        <pc:chgData name="Andreas Schröter" userId="S::andreas.schroeter@hfv-online.de::cd3701b5-2d10-46a4-9536-f48ca4e77ac1" providerId="AD" clId="Web-{61AE7B1E-1865-CB8C-4672-B3C992C24FA9}" dt="2022-01-07T13:52:55.711" v="258"/>
        <pc:sldMkLst>
          <pc:docMk/>
          <pc:sldMk cId="1808950880" sldId="318"/>
        </pc:sldMkLst>
      </pc:sldChg>
      <pc:sldChg chg="del">
        <pc:chgData name="Andreas Schröter" userId="S::andreas.schroeter@hfv-online.de::cd3701b5-2d10-46a4-9536-f48ca4e77ac1" providerId="AD" clId="Web-{61AE7B1E-1865-CB8C-4672-B3C992C24FA9}" dt="2022-01-07T13:52:55.680" v="254"/>
        <pc:sldMkLst>
          <pc:docMk/>
          <pc:sldMk cId="29979882" sldId="319"/>
        </pc:sldMkLst>
      </pc:sldChg>
      <pc:sldChg chg="del">
        <pc:chgData name="Andreas Schröter" userId="S::andreas.schroeter@hfv-online.de::cd3701b5-2d10-46a4-9536-f48ca4e77ac1" providerId="AD" clId="Web-{61AE7B1E-1865-CB8C-4672-B3C992C24FA9}" dt="2022-01-07T13:52:55.649" v="248"/>
        <pc:sldMkLst>
          <pc:docMk/>
          <pc:sldMk cId="1783838724" sldId="320"/>
        </pc:sldMkLst>
      </pc:sldChg>
      <pc:sldChg chg="del">
        <pc:chgData name="Andreas Schröter" userId="S::andreas.schroeter@hfv-online.de::cd3701b5-2d10-46a4-9536-f48ca4e77ac1" providerId="AD" clId="Web-{61AE7B1E-1865-CB8C-4672-B3C992C24FA9}" dt="2022-01-07T13:52:55.618" v="247"/>
        <pc:sldMkLst>
          <pc:docMk/>
          <pc:sldMk cId="1614467104" sldId="321"/>
        </pc:sldMkLst>
      </pc:sldChg>
      <pc:sldChg chg="del">
        <pc:chgData name="Andreas Schröter" userId="S::andreas.schroeter@hfv-online.de::cd3701b5-2d10-46a4-9536-f48ca4e77ac1" providerId="AD" clId="Web-{61AE7B1E-1865-CB8C-4672-B3C992C24FA9}" dt="2022-01-07T13:52:55.493" v="246"/>
        <pc:sldMkLst>
          <pc:docMk/>
          <pc:sldMk cId="1628626219" sldId="322"/>
        </pc:sldMkLst>
      </pc:sldChg>
      <pc:sldChg chg="del">
        <pc:chgData name="Andreas Schröter" userId="S::andreas.schroeter@hfv-online.de::cd3701b5-2d10-46a4-9536-f48ca4e77ac1" providerId="AD" clId="Web-{61AE7B1E-1865-CB8C-4672-B3C992C24FA9}" dt="2022-01-07T13:52:55.493" v="245"/>
        <pc:sldMkLst>
          <pc:docMk/>
          <pc:sldMk cId="3307053871" sldId="323"/>
        </pc:sldMkLst>
      </pc:sldChg>
      <pc:sldChg chg="del">
        <pc:chgData name="Andreas Schröter" userId="S::andreas.schroeter@hfv-online.de::cd3701b5-2d10-46a4-9536-f48ca4e77ac1" providerId="AD" clId="Web-{61AE7B1E-1865-CB8C-4672-B3C992C24FA9}" dt="2022-01-07T13:52:55.477" v="244"/>
        <pc:sldMkLst>
          <pc:docMk/>
          <pc:sldMk cId="1695551209" sldId="324"/>
        </pc:sldMkLst>
      </pc:sldChg>
      <pc:sldChg chg="del">
        <pc:chgData name="Andreas Schröter" userId="S::andreas.schroeter@hfv-online.de::cd3701b5-2d10-46a4-9536-f48ca4e77ac1" providerId="AD" clId="Web-{61AE7B1E-1865-CB8C-4672-B3C992C24FA9}" dt="2022-01-07T13:52:55.461" v="243"/>
        <pc:sldMkLst>
          <pc:docMk/>
          <pc:sldMk cId="2608581497" sldId="325"/>
        </pc:sldMkLst>
      </pc:sldChg>
      <pc:sldChg chg="del">
        <pc:chgData name="Andreas Schröter" userId="S::andreas.schroeter@hfv-online.de::cd3701b5-2d10-46a4-9536-f48ca4e77ac1" providerId="AD" clId="Web-{61AE7B1E-1865-CB8C-4672-B3C992C24FA9}" dt="2022-01-07T13:52:55.664" v="249"/>
        <pc:sldMkLst>
          <pc:docMk/>
          <pc:sldMk cId="1889625373" sldId="326"/>
        </pc:sldMkLst>
      </pc:sldChg>
      <pc:sldChg chg="del">
        <pc:chgData name="Andreas Schröter" userId="S::andreas.schroeter@hfv-online.de::cd3701b5-2d10-46a4-9536-f48ca4e77ac1" providerId="AD" clId="Web-{61AE7B1E-1865-CB8C-4672-B3C992C24FA9}" dt="2022-01-07T13:52:18.458" v="229"/>
        <pc:sldMkLst>
          <pc:docMk/>
          <pc:sldMk cId="3401256507" sldId="330"/>
        </pc:sldMkLst>
      </pc:sldChg>
      <pc:sldChg chg="del">
        <pc:chgData name="Andreas Schröter" userId="S::andreas.schroeter@hfv-online.de::cd3701b5-2d10-46a4-9536-f48ca4e77ac1" providerId="AD" clId="Web-{61AE7B1E-1865-CB8C-4672-B3C992C24FA9}" dt="2022-01-07T13:52:22.584" v="230"/>
        <pc:sldMkLst>
          <pc:docMk/>
          <pc:sldMk cId="2976181390" sldId="332"/>
        </pc:sldMkLst>
      </pc:sldChg>
      <pc:sldChg chg="del">
        <pc:chgData name="Andreas Schröter" userId="S::andreas.schroeter@hfv-online.de::cd3701b5-2d10-46a4-9536-f48ca4e77ac1" providerId="AD" clId="Web-{61AE7B1E-1865-CB8C-4672-B3C992C24FA9}" dt="2022-01-07T13:52:41.413" v="235"/>
        <pc:sldMkLst>
          <pc:docMk/>
          <pc:sldMk cId="3860058385" sldId="333"/>
        </pc:sldMkLst>
      </pc:sldChg>
      <pc:sldChg chg="del">
        <pc:chgData name="Andreas Schröter" userId="S::andreas.schroeter@hfv-online.de::cd3701b5-2d10-46a4-9536-f48ca4e77ac1" providerId="AD" clId="Web-{61AE7B1E-1865-CB8C-4672-B3C992C24FA9}" dt="2022-01-07T13:51:41.346" v="205"/>
        <pc:sldMkLst>
          <pc:docMk/>
          <pc:sldMk cId="2104093145" sldId="339"/>
        </pc:sldMkLst>
      </pc:sldChg>
      <pc:sldChg chg="del">
        <pc:chgData name="Andreas Schröter" userId="S::andreas.schroeter@hfv-online.de::cd3701b5-2d10-46a4-9536-f48ca4e77ac1" providerId="AD" clId="Web-{61AE7B1E-1865-CB8C-4672-B3C992C24FA9}" dt="2022-01-07T13:51:42.674" v="206"/>
        <pc:sldMkLst>
          <pc:docMk/>
          <pc:sldMk cId="3271718411" sldId="340"/>
        </pc:sldMkLst>
      </pc:sldChg>
      <pc:sldChg chg="del">
        <pc:chgData name="Andreas Schröter" userId="S::andreas.schroeter@hfv-online.de::cd3701b5-2d10-46a4-9536-f48ca4e77ac1" providerId="AD" clId="Web-{61AE7B1E-1865-CB8C-4672-B3C992C24FA9}" dt="2022-01-07T13:51:59.285" v="216"/>
        <pc:sldMkLst>
          <pc:docMk/>
          <pc:sldMk cId="4111377117" sldId="344"/>
        </pc:sldMkLst>
      </pc:sldChg>
      <pc:sldChg chg="del">
        <pc:chgData name="Andreas Schröter" userId="S::andreas.schroeter@hfv-online.de::cd3701b5-2d10-46a4-9536-f48ca4e77ac1" providerId="AD" clId="Web-{61AE7B1E-1865-CB8C-4672-B3C992C24FA9}" dt="2022-01-07T13:52:00.082" v="217"/>
        <pc:sldMkLst>
          <pc:docMk/>
          <pc:sldMk cId="2218149003" sldId="345"/>
        </pc:sldMkLst>
      </pc:sldChg>
      <pc:sldChg chg="del">
        <pc:chgData name="Andreas Schröter" userId="S::andreas.schroeter@hfv-online.de::cd3701b5-2d10-46a4-9536-f48ca4e77ac1" providerId="AD" clId="Web-{61AE7B1E-1865-CB8C-4672-B3C992C24FA9}" dt="2022-01-07T13:51:56.394" v="214"/>
        <pc:sldMkLst>
          <pc:docMk/>
          <pc:sldMk cId="1808811953" sldId="346"/>
        </pc:sldMkLst>
      </pc:sldChg>
      <pc:sldChg chg="del">
        <pc:chgData name="Andreas Schröter" userId="S::andreas.schroeter@hfv-online.de::cd3701b5-2d10-46a4-9536-f48ca4e77ac1" providerId="AD" clId="Web-{61AE7B1E-1865-CB8C-4672-B3C992C24FA9}" dt="2022-01-07T13:51:58.488" v="215"/>
        <pc:sldMkLst>
          <pc:docMk/>
          <pc:sldMk cId="263288901" sldId="347"/>
        </pc:sldMkLst>
      </pc:sldChg>
      <pc:sldChg chg="del">
        <pc:chgData name="Andreas Schröter" userId="S::andreas.schroeter@hfv-online.de::cd3701b5-2d10-46a4-9536-f48ca4e77ac1" providerId="AD" clId="Web-{61AE7B1E-1865-CB8C-4672-B3C992C24FA9}" dt="2022-01-07T13:52:00.894" v="218"/>
        <pc:sldMkLst>
          <pc:docMk/>
          <pc:sldMk cId="3605741897" sldId="348"/>
        </pc:sldMkLst>
      </pc:sldChg>
      <pc:sldChg chg="del">
        <pc:chgData name="Andreas Schröter" userId="S::andreas.schroeter@hfv-online.de::cd3701b5-2d10-46a4-9536-f48ca4e77ac1" providerId="AD" clId="Web-{61AE7B1E-1865-CB8C-4672-B3C992C24FA9}" dt="2022-01-07T13:52:02.098" v="219"/>
        <pc:sldMkLst>
          <pc:docMk/>
          <pc:sldMk cId="4210958234" sldId="349"/>
        </pc:sldMkLst>
      </pc:sldChg>
      <pc:sldChg chg="del">
        <pc:chgData name="Andreas Schröter" userId="S::andreas.schroeter@hfv-online.de::cd3701b5-2d10-46a4-9536-f48ca4e77ac1" providerId="AD" clId="Web-{61AE7B1E-1865-CB8C-4672-B3C992C24FA9}" dt="2022-01-07T13:52:55.680" v="252"/>
        <pc:sldMkLst>
          <pc:docMk/>
          <pc:sldMk cId="1855138938" sldId="350"/>
        </pc:sldMkLst>
      </pc:sldChg>
      <pc:sldChg chg="del">
        <pc:chgData name="Andreas Schröter" userId="S::andreas.schroeter@hfv-online.de::cd3701b5-2d10-46a4-9536-f48ca4e77ac1" providerId="AD" clId="Web-{61AE7B1E-1865-CB8C-4672-B3C992C24FA9}" dt="2022-01-07T13:52:55.680" v="251"/>
        <pc:sldMkLst>
          <pc:docMk/>
          <pc:sldMk cId="2061396167" sldId="351"/>
        </pc:sldMkLst>
      </pc:sldChg>
      <pc:sldChg chg="del">
        <pc:chgData name="Andreas Schröter" userId="S::andreas.schroeter@hfv-online.de::cd3701b5-2d10-46a4-9536-f48ca4e77ac1" providerId="AD" clId="Web-{61AE7B1E-1865-CB8C-4672-B3C992C24FA9}" dt="2022-01-07T13:52:55.664" v="250"/>
        <pc:sldMkLst>
          <pc:docMk/>
          <pc:sldMk cId="628557993" sldId="352"/>
        </pc:sldMkLst>
      </pc:sldChg>
      <pc:sldChg chg="del">
        <pc:chgData name="Andreas Schröter" userId="S::andreas.schroeter@hfv-online.de::cd3701b5-2d10-46a4-9536-f48ca4e77ac1" providerId="AD" clId="Web-{61AE7B1E-1865-CB8C-4672-B3C992C24FA9}" dt="2022-01-07T13:52:55.680" v="253"/>
        <pc:sldMkLst>
          <pc:docMk/>
          <pc:sldMk cId="3578560408" sldId="353"/>
        </pc:sldMkLst>
      </pc:sldChg>
      <pc:sldChg chg="del">
        <pc:chgData name="Andreas Schröter" userId="S::andreas.schroeter@hfv-online.de::cd3701b5-2d10-46a4-9536-f48ca4e77ac1" providerId="AD" clId="Web-{61AE7B1E-1865-CB8C-4672-B3C992C24FA9}" dt="2022-01-07T13:52:55.696" v="257"/>
        <pc:sldMkLst>
          <pc:docMk/>
          <pc:sldMk cId="2268578371" sldId="354"/>
        </pc:sldMkLst>
      </pc:sldChg>
      <pc:sldChg chg="del">
        <pc:chgData name="Andreas Schröter" userId="S::andreas.schroeter@hfv-online.de::cd3701b5-2d10-46a4-9536-f48ca4e77ac1" providerId="AD" clId="Web-{61AE7B1E-1865-CB8C-4672-B3C992C24FA9}" dt="2022-01-07T13:52:55.696" v="255"/>
        <pc:sldMkLst>
          <pc:docMk/>
          <pc:sldMk cId="1145410345" sldId="355"/>
        </pc:sldMkLst>
      </pc:sldChg>
      <pc:sldChg chg="del">
        <pc:chgData name="Andreas Schröter" userId="S::andreas.schroeter@hfv-online.de::cd3701b5-2d10-46a4-9536-f48ca4e77ac1" providerId="AD" clId="Web-{61AE7B1E-1865-CB8C-4672-B3C992C24FA9}" dt="2022-01-07T13:52:55.696" v="256"/>
        <pc:sldMkLst>
          <pc:docMk/>
          <pc:sldMk cId="4006995415" sldId="356"/>
        </pc:sldMkLst>
      </pc:sldChg>
      <pc:sldChg chg="del">
        <pc:chgData name="Andreas Schröter" userId="S::andreas.schroeter@hfv-online.de::cd3701b5-2d10-46a4-9536-f48ca4e77ac1" providerId="AD" clId="Web-{61AE7B1E-1865-CB8C-4672-B3C992C24FA9}" dt="2022-01-07T13:52:55.446" v="241"/>
        <pc:sldMkLst>
          <pc:docMk/>
          <pc:sldMk cId="3551501559" sldId="357"/>
        </pc:sldMkLst>
      </pc:sldChg>
      <pc:sldChg chg="del">
        <pc:chgData name="Andreas Schröter" userId="S::andreas.schroeter@hfv-online.de::cd3701b5-2d10-46a4-9536-f48ca4e77ac1" providerId="AD" clId="Web-{61AE7B1E-1865-CB8C-4672-B3C992C24FA9}" dt="2022-01-07T13:52:55.446" v="240"/>
        <pc:sldMkLst>
          <pc:docMk/>
          <pc:sldMk cId="423189872" sldId="358"/>
        </pc:sldMkLst>
      </pc:sldChg>
      <pc:sldChg chg="del">
        <pc:chgData name="Andreas Schröter" userId="S::andreas.schroeter@hfv-online.de::cd3701b5-2d10-46a4-9536-f48ca4e77ac1" providerId="AD" clId="Web-{61AE7B1E-1865-CB8C-4672-B3C992C24FA9}" dt="2022-01-07T13:52:55.446" v="239"/>
        <pc:sldMkLst>
          <pc:docMk/>
          <pc:sldMk cId="477115644" sldId="359"/>
        </pc:sldMkLst>
      </pc:sldChg>
      <pc:sldChg chg="del">
        <pc:chgData name="Andreas Schröter" userId="S::andreas.schroeter@hfv-online.de::cd3701b5-2d10-46a4-9536-f48ca4e77ac1" providerId="AD" clId="Web-{61AE7B1E-1865-CB8C-4672-B3C992C24FA9}" dt="2022-01-07T13:52:55.461" v="242"/>
        <pc:sldMkLst>
          <pc:docMk/>
          <pc:sldMk cId="906918847" sldId="360"/>
        </pc:sldMkLst>
      </pc:sldChg>
      <pc:sldChg chg="del">
        <pc:chgData name="Andreas Schröter" userId="S::andreas.schroeter@hfv-online.de::cd3701b5-2d10-46a4-9536-f48ca4e77ac1" providerId="AD" clId="Web-{61AE7B1E-1865-CB8C-4672-B3C992C24FA9}" dt="2022-01-07T13:51:51.972" v="210"/>
        <pc:sldMkLst>
          <pc:docMk/>
          <pc:sldMk cId="718620115" sldId="361"/>
        </pc:sldMkLst>
      </pc:sldChg>
      <pc:sldChg chg="modSp add replId">
        <pc:chgData name="Andreas Schröter" userId="S::andreas.schroeter@hfv-online.de::cd3701b5-2d10-46a4-9536-f48ca4e77ac1" providerId="AD" clId="Web-{61AE7B1E-1865-CB8C-4672-B3C992C24FA9}" dt="2022-01-07T13:50:58.811" v="182" actId="20577"/>
        <pc:sldMkLst>
          <pc:docMk/>
          <pc:sldMk cId="978049086" sldId="362"/>
        </pc:sldMkLst>
        <pc:spChg chg="mod">
          <ac:chgData name="Andreas Schröter" userId="S::andreas.schroeter@hfv-online.de::cd3701b5-2d10-46a4-9536-f48ca4e77ac1" providerId="AD" clId="Web-{61AE7B1E-1865-CB8C-4672-B3C992C24FA9}" dt="2022-01-07T13:50:27.403" v="146" actId="20577"/>
          <ac:spMkLst>
            <pc:docMk/>
            <pc:sldMk cId="978049086" sldId="362"/>
            <ac:spMk id="8" creationId="{00000000-0000-0000-0000-000000000000}"/>
          </ac:spMkLst>
        </pc:spChg>
        <pc:spChg chg="mod">
          <ac:chgData name="Andreas Schröter" userId="S::andreas.schroeter@hfv-online.de::cd3701b5-2d10-46a4-9536-f48ca4e77ac1" providerId="AD" clId="Web-{61AE7B1E-1865-CB8C-4672-B3C992C24FA9}" dt="2022-01-07T13:50:58.811" v="182" actId="20577"/>
          <ac:spMkLst>
            <pc:docMk/>
            <pc:sldMk cId="978049086" sldId="362"/>
            <ac:spMk id="9" creationId="{00000000-0000-0000-0000-000000000000}"/>
          </ac:spMkLst>
        </pc:spChg>
      </pc:sldChg>
      <pc:sldChg chg="add del replId">
        <pc:chgData name="Andreas Schröter" userId="S::andreas.schroeter@hfv-online.de::cd3701b5-2d10-46a4-9536-f48ca4e77ac1" providerId="AD" clId="Web-{61AE7B1E-1865-CB8C-4672-B3C992C24FA9}" dt="2022-01-07T13:51:37.143" v="201"/>
        <pc:sldMkLst>
          <pc:docMk/>
          <pc:sldMk cId="2942345360" sldId="363"/>
        </pc:sldMkLst>
      </pc:sldChg>
      <pc:sldChg chg="modSp add replId">
        <pc:chgData name="Andreas Schröter" userId="S::andreas.schroeter@hfv-online.de::cd3701b5-2d10-46a4-9536-f48ca4e77ac1" providerId="AD" clId="Web-{61AE7B1E-1865-CB8C-4672-B3C992C24FA9}" dt="2022-01-07T13:51:34.330" v="200" actId="20577"/>
        <pc:sldMkLst>
          <pc:docMk/>
          <pc:sldMk cId="1925108296" sldId="364"/>
        </pc:sldMkLst>
        <pc:spChg chg="mod">
          <ac:chgData name="Andreas Schröter" userId="S::andreas.schroeter@hfv-online.de::cd3701b5-2d10-46a4-9536-f48ca4e77ac1" providerId="AD" clId="Web-{61AE7B1E-1865-CB8C-4672-B3C992C24FA9}" dt="2022-01-07T13:51:34.330" v="200" actId="20577"/>
          <ac:spMkLst>
            <pc:docMk/>
            <pc:sldMk cId="1925108296" sldId="364"/>
            <ac:spMk id="9" creationId="{00000000-0000-0000-0000-000000000000}"/>
          </ac:spMkLst>
        </pc:spChg>
      </pc:sldChg>
    </pc:docChg>
  </pc:docChgLst>
  <pc:docChgLst>
    <pc:chgData name="Andreas Schröter" userId="S::andreas.schroeter@hfv-online.de::cd3701b5-2d10-46a4-9536-f48ca4e77ac1" providerId="AD" clId="Web-{1C2D961B-53EA-8AA1-F6EC-4DA8C514AC01}"/>
    <pc:docChg chg="delSld modSld">
      <pc:chgData name="Andreas Schröter" userId="S::andreas.schroeter@hfv-online.de::cd3701b5-2d10-46a4-9536-f48ca4e77ac1" providerId="AD" clId="Web-{1C2D961B-53EA-8AA1-F6EC-4DA8C514AC01}" dt="2022-01-07T12:25:46.451" v="29"/>
      <pc:docMkLst>
        <pc:docMk/>
      </pc:docMkLst>
      <pc:sldChg chg="modSp">
        <pc:chgData name="Andreas Schröter" userId="S::andreas.schroeter@hfv-online.de::cd3701b5-2d10-46a4-9536-f48ca4e77ac1" providerId="AD" clId="Web-{1C2D961B-53EA-8AA1-F6EC-4DA8C514AC01}" dt="2022-01-07T12:25:10.714" v="18" actId="20577"/>
        <pc:sldMkLst>
          <pc:docMk/>
          <pc:sldMk cId="1254673291" sldId="275"/>
        </pc:sldMkLst>
        <pc:spChg chg="mod">
          <ac:chgData name="Andreas Schröter" userId="S::andreas.schroeter@hfv-online.de::cd3701b5-2d10-46a4-9536-f48ca4e77ac1" providerId="AD" clId="Web-{1C2D961B-53EA-8AA1-F6EC-4DA8C514AC01}" dt="2022-01-07T12:25:10.714" v="18" actId="20577"/>
          <ac:spMkLst>
            <pc:docMk/>
            <pc:sldMk cId="1254673291" sldId="275"/>
            <ac:spMk id="6" creationId="{00000000-0000-0000-0000-000000000000}"/>
          </ac:spMkLst>
        </pc:spChg>
      </pc:sldChg>
      <pc:sldChg chg="del">
        <pc:chgData name="Andreas Schröter" userId="S::andreas.schroeter@hfv-online.de::cd3701b5-2d10-46a4-9536-f48ca4e77ac1" providerId="AD" clId="Web-{1C2D961B-53EA-8AA1-F6EC-4DA8C514AC01}" dt="2022-01-07T12:25:22.059" v="19"/>
        <pc:sldMkLst>
          <pc:docMk/>
          <pc:sldMk cId="1613937480" sldId="279"/>
        </pc:sldMkLst>
      </pc:sldChg>
      <pc:sldChg chg="del">
        <pc:chgData name="Andreas Schröter" userId="S::andreas.schroeter@hfv-online.de::cd3701b5-2d10-46a4-9536-f48ca4e77ac1" providerId="AD" clId="Web-{1C2D961B-53EA-8AA1-F6EC-4DA8C514AC01}" dt="2022-01-07T12:25:24.106" v="20"/>
        <pc:sldMkLst>
          <pc:docMk/>
          <pc:sldMk cId="179456592" sldId="280"/>
        </pc:sldMkLst>
      </pc:sldChg>
      <pc:sldChg chg="del">
        <pc:chgData name="Andreas Schröter" userId="S::andreas.schroeter@hfv-online.de::cd3701b5-2d10-46a4-9536-f48ca4e77ac1" providerId="AD" clId="Web-{1C2D961B-53EA-8AA1-F6EC-4DA8C514AC01}" dt="2022-01-07T12:25:35.294" v="25"/>
        <pc:sldMkLst>
          <pc:docMk/>
          <pc:sldMk cId="818559991" sldId="284"/>
        </pc:sldMkLst>
      </pc:sldChg>
      <pc:sldChg chg="del">
        <pc:chgData name="Andreas Schröter" userId="S::andreas.schroeter@hfv-online.de::cd3701b5-2d10-46a4-9536-f48ca4e77ac1" providerId="AD" clId="Web-{1C2D961B-53EA-8AA1-F6EC-4DA8C514AC01}" dt="2022-01-07T12:25:42.060" v="26"/>
        <pc:sldMkLst>
          <pc:docMk/>
          <pc:sldMk cId="4222328770" sldId="286"/>
        </pc:sldMkLst>
      </pc:sldChg>
      <pc:sldChg chg="del">
        <pc:chgData name="Andreas Schröter" userId="S::andreas.schroeter@hfv-online.de::cd3701b5-2d10-46a4-9536-f48ca4e77ac1" providerId="AD" clId="Web-{1C2D961B-53EA-8AA1-F6EC-4DA8C514AC01}" dt="2022-01-07T12:25:44.217" v="27"/>
        <pc:sldMkLst>
          <pc:docMk/>
          <pc:sldMk cId="3625140404" sldId="287"/>
        </pc:sldMkLst>
      </pc:sldChg>
      <pc:sldChg chg="del">
        <pc:chgData name="Andreas Schröter" userId="S::andreas.schroeter@hfv-online.de::cd3701b5-2d10-46a4-9536-f48ca4e77ac1" providerId="AD" clId="Web-{1C2D961B-53EA-8AA1-F6EC-4DA8C514AC01}" dt="2022-01-07T12:25:30.388" v="21"/>
        <pc:sldMkLst>
          <pc:docMk/>
          <pc:sldMk cId="1812173286" sldId="334"/>
        </pc:sldMkLst>
      </pc:sldChg>
      <pc:sldChg chg="del">
        <pc:chgData name="Andreas Schröter" userId="S::andreas.schroeter@hfv-online.de::cd3701b5-2d10-46a4-9536-f48ca4e77ac1" providerId="AD" clId="Web-{1C2D961B-53EA-8AA1-F6EC-4DA8C514AC01}" dt="2022-01-07T12:25:33.685" v="23"/>
        <pc:sldMkLst>
          <pc:docMk/>
          <pc:sldMk cId="1554045841" sldId="336"/>
        </pc:sldMkLst>
      </pc:sldChg>
      <pc:sldChg chg="del">
        <pc:chgData name="Andreas Schröter" userId="S::andreas.schroeter@hfv-online.de::cd3701b5-2d10-46a4-9536-f48ca4e77ac1" providerId="AD" clId="Web-{1C2D961B-53EA-8AA1-F6EC-4DA8C514AC01}" dt="2022-01-07T12:25:31.591" v="22"/>
        <pc:sldMkLst>
          <pc:docMk/>
          <pc:sldMk cId="1584706994" sldId="337"/>
        </pc:sldMkLst>
      </pc:sldChg>
      <pc:sldChg chg="del">
        <pc:chgData name="Andreas Schröter" userId="S::andreas.schroeter@hfv-online.de::cd3701b5-2d10-46a4-9536-f48ca4e77ac1" providerId="AD" clId="Web-{1C2D961B-53EA-8AA1-F6EC-4DA8C514AC01}" dt="2022-01-07T12:25:34.529" v="24"/>
        <pc:sldMkLst>
          <pc:docMk/>
          <pc:sldMk cId="1596922398" sldId="341"/>
        </pc:sldMkLst>
      </pc:sldChg>
      <pc:sldChg chg="del">
        <pc:chgData name="Andreas Schröter" userId="S::andreas.schroeter@hfv-online.de::cd3701b5-2d10-46a4-9536-f48ca4e77ac1" providerId="AD" clId="Web-{1C2D961B-53EA-8AA1-F6EC-4DA8C514AC01}" dt="2022-01-07T12:25:45.420" v="28"/>
        <pc:sldMkLst>
          <pc:docMk/>
          <pc:sldMk cId="200593619" sldId="342"/>
        </pc:sldMkLst>
      </pc:sldChg>
      <pc:sldChg chg="del">
        <pc:chgData name="Andreas Schröter" userId="S::andreas.schroeter@hfv-online.de::cd3701b5-2d10-46a4-9536-f48ca4e77ac1" providerId="AD" clId="Web-{1C2D961B-53EA-8AA1-F6EC-4DA8C514AC01}" dt="2022-01-07T12:25:46.451" v="29"/>
        <pc:sldMkLst>
          <pc:docMk/>
          <pc:sldMk cId="4126282916" sldId="343"/>
        </pc:sldMkLst>
      </pc:sldChg>
    </pc:docChg>
  </pc:docChgLst>
  <pc:docChgLst>
    <pc:chgData name="Menzel, Oscar" userId="c07821de-8790-4c5d-acb5-8f5e137d852d" providerId="ADAL" clId="{072A70F3-40C3-4BE7-981D-DC725D480583}"/>
    <pc:docChg chg="undo custSel modSld">
      <pc:chgData name="Menzel, Oscar" userId="c07821de-8790-4c5d-acb5-8f5e137d852d" providerId="ADAL" clId="{072A70F3-40C3-4BE7-981D-DC725D480583}" dt="2021-05-02T13:31:50.517" v="6" actId="478"/>
      <pc:docMkLst>
        <pc:docMk/>
      </pc:docMkLst>
      <pc:sldChg chg="addSp delSp modSp mod">
        <pc:chgData name="Menzel, Oscar" userId="c07821de-8790-4c5d-acb5-8f5e137d852d" providerId="ADAL" clId="{072A70F3-40C3-4BE7-981D-DC725D480583}" dt="2021-05-02T13:31:50.517" v="6" actId="478"/>
        <pc:sldMkLst>
          <pc:docMk/>
          <pc:sldMk cId="1783838724" sldId="320"/>
        </pc:sldMkLst>
        <pc:spChg chg="mod">
          <ac:chgData name="Menzel, Oscar" userId="c07821de-8790-4c5d-acb5-8f5e137d852d" providerId="ADAL" clId="{072A70F3-40C3-4BE7-981D-DC725D480583}" dt="2021-05-01T14:59:27.374" v="0" actId="1076"/>
          <ac:spMkLst>
            <pc:docMk/>
            <pc:sldMk cId="1783838724" sldId="320"/>
            <ac:spMk id="2" creationId="{00000000-0000-0000-0000-000000000000}"/>
          </ac:spMkLst>
        </pc:spChg>
        <pc:spChg chg="mod">
          <ac:chgData name="Menzel, Oscar" userId="c07821de-8790-4c5d-acb5-8f5e137d852d" providerId="ADAL" clId="{072A70F3-40C3-4BE7-981D-DC725D480583}" dt="2021-05-02T13:31:42.109" v="4" actId="478"/>
          <ac:spMkLst>
            <pc:docMk/>
            <pc:sldMk cId="1783838724" sldId="320"/>
            <ac:spMk id="107" creationId="{00000000-0000-0000-0000-000000000000}"/>
          </ac:spMkLst>
        </pc:spChg>
        <pc:spChg chg="mod">
          <ac:chgData name="Menzel, Oscar" userId="c07821de-8790-4c5d-acb5-8f5e137d852d" providerId="ADAL" clId="{072A70F3-40C3-4BE7-981D-DC725D480583}" dt="2021-05-02T13:31:42.109" v="4" actId="478"/>
          <ac:spMkLst>
            <pc:docMk/>
            <pc:sldMk cId="1783838724" sldId="320"/>
            <ac:spMk id="108" creationId="{00000000-0000-0000-0000-000000000000}"/>
          </ac:spMkLst>
        </pc:spChg>
        <pc:spChg chg="mod">
          <ac:chgData name="Menzel, Oscar" userId="c07821de-8790-4c5d-acb5-8f5e137d852d" providerId="ADAL" clId="{072A70F3-40C3-4BE7-981D-DC725D480583}" dt="2021-05-02T13:31:42.109" v="4" actId="478"/>
          <ac:spMkLst>
            <pc:docMk/>
            <pc:sldMk cId="1783838724" sldId="320"/>
            <ac:spMk id="109" creationId="{00000000-0000-0000-0000-000000000000}"/>
          </ac:spMkLst>
        </pc:spChg>
        <pc:spChg chg="mod">
          <ac:chgData name="Menzel, Oscar" userId="c07821de-8790-4c5d-acb5-8f5e137d852d" providerId="ADAL" clId="{072A70F3-40C3-4BE7-981D-DC725D480583}" dt="2021-05-02T13:31:42.109" v="4" actId="478"/>
          <ac:spMkLst>
            <pc:docMk/>
            <pc:sldMk cId="1783838724" sldId="320"/>
            <ac:spMk id="110" creationId="{00000000-0000-0000-0000-000000000000}"/>
          </ac:spMkLst>
        </pc:spChg>
        <pc:spChg chg="mod">
          <ac:chgData name="Menzel, Oscar" userId="c07821de-8790-4c5d-acb5-8f5e137d852d" providerId="ADAL" clId="{072A70F3-40C3-4BE7-981D-DC725D480583}" dt="2021-05-02T13:31:42.109" v="4" actId="478"/>
          <ac:spMkLst>
            <pc:docMk/>
            <pc:sldMk cId="1783838724" sldId="320"/>
            <ac:spMk id="111" creationId="{00000000-0000-0000-0000-000000000000}"/>
          </ac:spMkLst>
        </pc:spChg>
        <pc:spChg chg="mod">
          <ac:chgData name="Menzel, Oscar" userId="c07821de-8790-4c5d-acb5-8f5e137d852d" providerId="ADAL" clId="{072A70F3-40C3-4BE7-981D-DC725D480583}" dt="2021-05-02T13:31:42.109" v="4" actId="478"/>
          <ac:spMkLst>
            <pc:docMk/>
            <pc:sldMk cId="1783838724" sldId="320"/>
            <ac:spMk id="112" creationId="{00000000-0000-0000-0000-000000000000}"/>
          </ac:spMkLst>
        </pc:spChg>
        <pc:spChg chg="mod">
          <ac:chgData name="Menzel, Oscar" userId="c07821de-8790-4c5d-acb5-8f5e137d852d" providerId="ADAL" clId="{072A70F3-40C3-4BE7-981D-DC725D480583}" dt="2021-05-02T13:31:42.109" v="4" actId="478"/>
          <ac:spMkLst>
            <pc:docMk/>
            <pc:sldMk cId="1783838724" sldId="320"/>
            <ac:spMk id="113" creationId="{00000000-0000-0000-0000-000000000000}"/>
          </ac:spMkLst>
        </pc:spChg>
        <pc:spChg chg="mod">
          <ac:chgData name="Menzel, Oscar" userId="c07821de-8790-4c5d-acb5-8f5e137d852d" providerId="ADAL" clId="{072A70F3-40C3-4BE7-981D-DC725D480583}" dt="2021-05-02T13:31:42.109" v="4" actId="478"/>
          <ac:spMkLst>
            <pc:docMk/>
            <pc:sldMk cId="1783838724" sldId="320"/>
            <ac:spMk id="114" creationId="{00000000-0000-0000-0000-000000000000}"/>
          </ac:spMkLst>
        </pc:spChg>
        <pc:spChg chg="mod">
          <ac:chgData name="Menzel, Oscar" userId="c07821de-8790-4c5d-acb5-8f5e137d852d" providerId="ADAL" clId="{072A70F3-40C3-4BE7-981D-DC725D480583}" dt="2021-05-02T13:31:42.109" v="4" actId="478"/>
          <ac:spMkLst>
            <pc:docMk/>
            <pc:sldMk cId="1783838724" sldId="320"/>
            <ac:spMk id="115" creationId="{00000000-0000-0000-0000-000000000000}"/>
          </ac:spMkLst>
        </pc:spChg>
        <pc:spChg chg="mod">
          <ac:chgData name="Menzel, Oscar" userId="c07821de-8790-4c5d-acb5-8f5e137d852d" providerId="ADAL" clId="{072A70F3-40C3-4BE7-981D-DC725D480583}" dt="2021-05-02T13:31:42.109" v="4" actId="478"/>
          <ac:spMkLst>
            <pc:docMk/>
            <pc:sldMk cId="1783838724" sldId="320"/>
            <ac:spMk id="116" creationId="{00000000-0000-0000-0000-000000000000}"/>
          </ac:spMkLst>
        </pc:spChg>
        <pc:spChg chg="mod">
          <ac:chgData name="Menzel, Oscar" userId="c07821de-8790-4c5d-acb5-8f5e137d852d" providerId="ADAL" clId="{072A70F3-40C3-4BE7-981D-DC725D480583}" dt="2021-05-02T13:31:42.109" v="4" actId="478"/>
          <ac:spMkLst>
            <pc:docMk/>
            <pc:sldMk cId="1783838724" sldId="320"/>
            <ac:spMk id="117" creationId="{00000000-0000-0000-0000-000000000000}"/>
          </ac:spMkLst>
        </pc:spChg>
        <pc:spChg chg="mod">
          <ac:chgData name="Menzel, Oscar" userId="c07821de-8790-4c5d-acb5-8f5e137d852d" providerId="ADAL" clId="{072A70F3-40C3-4BE7-981D-DC725D480583}" dt="2021-05-02T13:31:42.109" v="4" actId="478"/>
          <ac:spMkLst>
            <pc:docMk/>
            <pc:sldMk cId="1783838724" sldId="320"/>
            <ac:spMk id="118" creationId="{00000000-0000-0000-0000-000000000000}"/>
          </ac:spMkLst>
        </pc:spChg>
        <pc:spChg chg="mod">
          <ac:chgData name="Menzel, Oscar" userId="c07821de-8790-4c5d-acb5-8f5e137d852d" providerId="ADAL" clId="{072A70F3-40C3-4BE7-981D-DC725D480583}" dt="2021-05-02T13:31:42.109" v="4" actId="478"/>
          <ac:spMkLst>
            <pc:docMk/>
            <pc:sldMk cId="1783838724" sldId="320"/>
            <ac:spMk id="119" creationId="{00000000-0000-0000-0000-000000000000}"/>
          </ac:spMkLst>
        </pc:spChg>
        <pc:spChg chg="mod">
          <ac:chgData name="Menzel, Oscar" userId="c07821de-8790-4c5d-acb5-8f5e137d852d" providerId="ADAL" clId="{072A70F3-40C3-4BE7-981D-DC725D480583}" dt="2021-05-02T13:31:42.109" v="4" actId="478"/>
          <ac:spMkLst>
            <pc:docMk/>
            <pc:sldMk cId="1783838724" sldId="320"/>
            <ac:spMk id="120" creationId="{00000000-0000-0000-0000-000000000000}"/>
          </ac:spMkLst>
        </pc:spChg>
        <pc:spChg chg="add del">
          <ac:chgData name="Menzel, Oscar" userId="c07821de-8790-4c5d-acb5-8f5e137d852d" providerId="ADAL" clId="{072A70F3-40C3-4BE7-981D-DC725D480583}" dt="2021-05-02T13:31:42.109" v="4" actId="478"/>
          <ac:spMkLst>
            <pc:docMk/>
            <pc:sldMk cId="1783838724" sldId="320"/>
            <ac:spMk id="121" creationId="{00000000-0000-0000-0000-000000000000}"/>
          </ac:spMkLst>
        </pc:spChg>
        <pc:spChg chg="mod">
          <ac:chgData name="Menzel, Oscar" userId="c07821de-8790-4c5d-acb5-8f5e137d852d" providerId="ADAL" clId="{072A70F3-40C3-4BE7-981D-DC725D480583}" dt="2021-05-02T13:31:42.109" v="4" actId="478"/>
          <ac:spMkLst>
            <pc:docMk/>
            <pc:sldMk cId="1783838724" sldId="320"/>
            <ac:spMk id="122" creationId="{00000000-0000-0000-0000-000000000000}"/>
          </ac:spMkLst>
        </pc:spChg>
        <pc:spChg chg="mod">
          <ac:chgData name="Menzel, Oscar" userId="c07821de-8790-4c5d-acb5-8f5e137d852d" providerId="ADAL" clId="{072A70F3-40C3-4BE7-981D-DC725D480583}" dt="2021-05-02T13:31:42.109" v="4" actId="478"/>
          <ac:spMkLst>
            <pc:docMk/>
            <pc:sldMk cId="1783838724" sldId="320"/>
            <ac:spMk id="123" creationId="{00000000-0000-0000-0000-000000000000}"/>
          </ac:spMkLst>
        </pc:spChg>
        <pc:spChg chg="mod">
          <ac:chgData name="Menzel, Oscar" userId="c07821de-8790-4c5d-acb5-8f5e137d852d" providerId="ADAL" clId="{072A70F3-40C3-4BE7-981D-DC725D480583}" dt="2021-05-02T13:31:42.109" v="4" actId="478"/>
          <ac:spMkLst>
            <pc:docMk/>
            <pc:sldMk cId="1783838724" sldId="320"/>
            <ac:spMk id="124" creationId="{00000000-0000-0000-0000-000000000000}"/>
          </ac:spMkLst>
        </pc:spChg>
        <pc:spChg chg="mod">
          <ac:chgData name="Menzel, Oscar" userId="c07821de-8790-4c5d-acb5-8f5e137d852d" providerId="ADAL" clId="{072A70F3-40C3-4BE7-981D-DC725D480583}" dt="2021-05-02T13:31:42.109" v="4" actId="478"/>
          <ac:spMkLst>
            <pc:docMk/>
            <pc:sldMk cId="1783838724" sldId="320"/>
            <ac:spMk id="125" creationId="{00000000-0000-0000-0000-000000000000}"/>
          </ac:spMkLst>
        </pc:spChg>
        <pc:spChg chg="mod">
          <ac:chgData name="Menzel, Oscar" userId="c07821de-8790-4c5d-acb5-8f5e137d852d" providerId="ADAL" clId="{072A70F3-40C3-4BE7-981D-DC725D480583}" dt="2021-05-02T13:31:42.109" v="4" actId="478"/>
          <ac:spMkLst>
            <pc:docMk/>
            <pc:sldMk cId="1783838724" sldId="320"/>
            <ac:spMk id="126" creationId="{00000000-0000-0000-0000-000000000000}"/>
          </ac:spMkLst>
        </pc:spChg>
        <pc:spChg chg="mod">
          <ac:chgData name="Menzel, Oscar" userId="c07821de-8790-4c5d-acb5-8f5e137d852d" providerId="ADAL" clId="{072A70F3-40C3-4BE7-981D-DC725D480583}" dt="2021-05-02T13:31:42.109" v="4" actId="478"/>
          <ac:spMkLst>
            <pc:docMk/>
            <pc:sldMk cId="1783838724" sldId="320"/>
            <ac:spMk id="127" creationId="{00000000-0000-0000-0000-000000000000}"/>
          </ac:spMkLst>
        </pc:spChg>
        <pc:spChg chg="mod">
          <ac:chgData name="Menzel, Oscar" userId="c07821de-8790-4c5d-acb5-8f5e137d852d" providerId="ADAL" clId="{072A70F3-40C3-4BE7-981D-DC725D480583}" dt="2021-05-02T13:31:42.109" v="4" actId="478"/>
          <ac:spMkLst>
            <pc:docMk/>
            <pc:sldMk cId="1783838724" sldId="320"/>
            <ac:spMk id="128" creationId="{00000000-0000-0000-0000-000000000000}"/>
          </ac:spMkLst>
        </pc:spChg>
        <pc:spChg chg="mod">
          <ac:chgData name="Menzel, Oscar" userId="c07821de-8790-4c5d-acb5-8f5e137d852d" providerId="ADAL" clId="{072A70F3-40C3-4BE7-981D-DC725D480583}" dt="2021-05-02T13:31:42.109" v="4" actId="478"/>
          <ac:spMkLst>
            <pc:docMk/>
            <pc:sldMk cId="1783838724" sldId="320"/>
            <ac:spMk id="129" creationId="{00000000-0000-0000-0000-000000000000}"/>
          </ac:spMkLst>
        </pc:spChg>
        <pc:spChg chg="mod">
          <ac:chgData name="Menzel, Oscar" userId="c07821de-8790-4c5d-acb5-8f5e137d852d" providerId="ADAL" clId="{072A70F3-40C3-4BE7-981D-DC725D480583}" dt="2021-05-02T13:31:42.109" v="4" actId="478"/>
          <ac:spMkLst>
            <pc:docMk/>
            <pc:sldMk cId="1783838724" sldId="320"/>
            <ac:spMk id="130" creationId="{00000000-0000-0000-0000-000000000000}"/>
          </ac:spMkLst>
        </pc:spChg>
        <pc:spChg chg="mod">
          <ac:chgData name="Menzel, Oscar" userId="c07821de-8790-4c5d-acb5-8f5e137d852d" providerId="ADAL" clId="{072A70F3-40C3-4BE7-981D-DC725D480583}" dt="2021-05-02T13:31:42.109" v="4" actId="478"/>
          <ac:spMkLst>
            <pc:docMk/>
            <pc:sldMk cId="1783838724" sldId="320"/>
            <ac:spMk id="131" creationId="{00000000-0000-0000-0000-000000000000}"/>
          </ac:spMkLst>
        </pc:spChg>
        <pc:spChg chg="mod">
          <ac:chgData name="Menzel, Oscar" userId="c07821de-8790-4c5d-acb5-8f5e137d852d" providerId="ADAL" clId="{072A70F3-40C3-4BE7-981D-DC725D480583}" dt="2021-05-02T13:31:42.109" v="4" actId="478"/>
          <ac:spMkLst>
            <pc:docMk/>
            <pc:sldMk cId="1783838724" sldId="320"/>
            <ac:spMk id="132" creationId="{00000000-0000-0000-0000-000000000000}"/>
          </ac:spMkLst>
        </pc:spChg>
        <pc:spChg chg="mod">
          <ac:chgData name="Menzel, Oscar" userId="c07821de-8790-4c5d-acb5-8f5e137d852d" providerId="ADAL" clId="{072A70F3-40C3-4BE7-981D-DC725D480583}" dt="2021-05-02T13:31:42.109" v="4" actId="478"/>
          <ac:spMkLst>
            <pc:docMk/>
            <pc:sldMk cId="1783838724" sldId="320"/>
            <ac:spMk id="133" creationId="{00000000-0000-0000-0000-000000000000}"/>
          </ac:spMkLst>
        </pc:spChg>
        <pc:spChg chg="mod">
          <ac:chgData name="Menzel, Oscar" userId="c07821de-8790-4c5d-acb5-8f5e137d852d" providerId="ADAL" clId="{072A70F3-40C3-4BE7-981D-DC725D480583}" dt="2021-05-02T13:31:42.109" v="4" actId="478"/>
          <ac:spMkLst>
            <pc:docMk/>
            <pc:sldMk cId="1783838724" sldId="320"/>
            <ac:spMk id="134" creationId="{00000000-0000-0000-0000-000000000000}"/>
          </ac:spMkLst>
        </pc:spChg>
        <pc:spChg chg="mod">
          <ac:chgData name="Menzel, Oscar" userId="c07821de-8790-4c5d-acb5-8f5e137d852d" providerId="ADAL" clId="{072A70F3-40C3-4BE7-981D-DC725D480583}" dt="2021-05-02T13:31:42.109" v="4" actId="478"/>
          <ac:spMkLst>
            <pc:docMk/>
            <pc:sldMk cId="1783838724" sldId="320"/>
            <ac:spMk id="135" creationId="{00000000-0000-0000-0000-000000000000}"/>
          </ac:spMkLst>
        </pc:spChg>
        <pc:spChg chg="del mod">
          <ac:chgData name="Menzel, Oscar" userId="c07821de-8790-4c5d-acb5-8f5e137d852d" providerId="ADAL" clId="{072A70F3-40C3-4BE7-981D-DC725D480583}" dt="2021-05-02T13:31:50.517" v="6" actId="478"/>
          <ac:spMkLst>
            <pc:docMk/>
            <pc:sldMk cId="1783838724" sldId="320"/>
            <ac:spMk id="272" creationId="{00000000-0000-0000-0000-000000000000}"/>
          </ac:spMkLst>
        </pc:spChg>
        <pc:grpChg chg="mod">
          <ac:chgData name="Menzel, Oscar" userId="c07821de-8790-4c5d-acb5-8f5e137d852d" providerId="ADAL" clId="{072A70F3-40C3-4BE7-981D-DC725D480583}" dt="2021-05-02T13:31:42.109" v="4" actId="478"/>
          <ac:grpSpMkLst>
            <pc:docMk/>
            <pc:sldMk cId="1783838724" sldId="320"/>
            <ac:grpSpMk id="104" creationId="{00000000-0000-0000-0000-000000000000}"/>
          </ac:grpSpMkLst>
        </pc:grpChg>
        <pc:grpChg chg="mod">
          <ac:chgData name="Menzel, Oscar" userId="c07821de-8790-4c5d-acb5-8f5e137d852d" providerId="ADAL" clId="{072A70F3-40C3-4BE7-981D-DC725D480583}" dt="2021-05-02T13:31:42.109" v="4" actId="478"/>
          <ac:grpSpMkLst>
            <pc:docMk/>
            <pc:sldMk cId="1783838724" sldId="320"/>
            <ac:grpSpMk id="105" creationId="{00000000-0000-0000-0000-000000000000}"/>
          </ac:grpSpMkLst>
        </pc:grpChg>
        <pc:grpChg chg="mod">
          <ac:chgData name="Menzel, Oscar" userId="c07821de-8790-4c5d-acb5-8f5e137d852d" providerId="ADAL" clId="{072A70F3-40C3-4BE7-981D-DC725D480583}" dt="2021-05-02T13:31:42.109" v="4" actId="478"/>
          <ac:grpSpMkLst>
            <pc:docMk/>
            <pc:sldMk cId="1783838724" sldId="320"/>
            <ac:grpSpMk id="106" creationId="{00000000-0000-0000-0000-000000000000}"/>
          </ac:grpSpMkLst>
        </pc:grpChg>
        <pc:grpChg chg="mod">
          <ac:chgData name="Menzel, Oscar" userId="c07821de-8790-4c5d-acb5-8f5e137d852d" providerId="ADAL" clId="{072A70F3-40C3-4BE7-981D-DC725D480583}" dt="2021-05-01T14:59:31.471" v="2" actId="1076"/>
          <ac:grpSpMkLst>
            <pc:docMk/>
            <pc:sldMk cId="1783838724" sldId="320"/>
            <ac:grpSpMk id="249" creationId="{00000000-0000-0000-0000-000000000000}"/>
          </ac:grpSpMkLst>
        </pc:grpChg>
      </pc:sldChg>
    </pc:docChg>
  </pc:docChgLst>
  <pc:docChgLst>
    <pc:chgData name="Borchardt, Dennis" userId="12b3e610-e31c-4d88-bffd-c0c95052e528" providerId="ADAL" clId="{BFDFF0EA-E78A-4EA3-AFF6-1F72495BB4D8}"/>
    <pc:docChg chg="modSld">
      <pc:chgData name="Borchardt, Dennis" userId="12b3e610-e31c-4d88-bffd-c0c95052e528" providerId="ADAL" clId="{BFDFF0EA-E78A-4EA3-AFF6-1F72495BB4D8}" dt="2022-01-03T08:36:14.001" v="0" actId="1076"/>
      <pc:docMkLst>
        <pc:docMk/>
      </pc:docMkLst>
      <pc:sldChg chg="modSp mod">
        <pc:chgData name="Borchardt, Dennis" userId="12b3e610-e31c-4d88-bffd-c0c95052e528" providerId="ADAL" clId="{BFDFF0EA-E78A-4EA3-AFF6-1F72495BB4D8}" dt="2022-01-03T08:36:14.001" v="0" actId="1076"/>
        <pc:sldMkLst>
          <pc:docMk/>
          <pc:sldMk cId="4165918066" sldId="329"/>
        </pc:sldMkLst>
        <pc:spChg chg="mod">
          <ac:chgData name="Borchardt, Dennis" userId="12b3e610-e31c-4d88-bffd-c0c95052e528" providerId="ADAL" clId="{BFDFF0EA-E78A-4EA3-AFF6-1F72495BB4D8}" dt="2022-01-03T08:36:14.001" v="0" actId="1076"/>
          <ac:spMkLst>
            <pc:docMk/>
            <pc:sldMk cId="4165918066" sldId="329"/>
            <ac:spMk id="6"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Datumsplatzhalter 2"/>
          <p:cNvSpPr>
            <a:spLocks noGrp="1"/>
          </p:cNvSpPr>
          <p:nvPr>
            <p:ph type="dt" idx="1"/>
          </p:nvPr>
        </p:nvSpPr>
        <p:spPr>
          <a:xfrm>
            <a:off x="333590" y="9576951"/>
            <a:ext cx="709886" cy="138499"/>
          </a:xfrm>
          <a:prstGeom prst="rect">
            <a:avLst/>
          </a:prstGeom>
        </p:spPr>
        <p:txBody>
          <a:bodyPr vert="horz" wrap="square" lIns="0" tIns="0" rIns="0" bIns="0" rtlCol="0">
            <a:spAutoFit/>
          </a:bodyPr>
          <a:lstStyle>
            <a:lvl1pPr algn="l">
              <a:defRPr sz="900">
                <a:latin typeface="+mj-lt"/>
              </a:defRPr>
            </a:lvl1pPr>
          </a:lstStyle>
          <a:p>
            <a:fld id="{56B1D6A0-B199-4BE9-8871-68D3671DF234}" type="datetimeFigureOut">
              <a:rPr lang="de-DE" smtClean="0"/>
              <a:pPr/>
              <a:t>08.01.2022</a:t>
            </a:fld>
            <a:endParaRPr lang="de-DE" dirty="0"/>
          </a:p>
        </p:txBody>
      </p:sp>
      <p:sp>
        <p:nvSpPr>
          <p:cNvPr id="7" name="Foliennummernplatzhalter 6"/>
          <p:cNvSpPr>
            <a:spLocks noGrp="1"/>
          </p:cNvSpPr>
          <p:nvPr>
            <p:ph type="sldNum" sz="quarter" idx="3"/>
          </p:nvPr>
        </p:nvSpPr>
        <p:spPr>
          <a:xfrm>
            <a:off x="5754199" y="9588829"/>
            <a:ext cx="713746" cy="138499"/>
          </a:xfrm>
          <a:prstGeom prst="rect">
            <a:avLst/>
          </a:prstGeom>
        </p:spPr>
        <p:txBody>
          <a:bodyPr vert="horz" wrap="square" lIns="0" tIns="0" rIns="0" bIns="0" rtlCol="0" anchor="b">
            <a:spAutoFit/>
          </a:bodyPr>
          <a:lstStyle>
            <a:lvl1pPr algn="r">
              <a:defRPr sz="900" b="1">
                <a:solidFill>
                  <a:schemeClr val="accent2"/>
                </a:solidFill>
                <a:latin typeface="+mj-lt"/>
              </a:defRPr>
            </a:lvl1pPr>
          </a:lstStyle>
          <a:p>
            <a:r>
              <a:rPr lang="de-DE" dirty="0"/>
              <a:t>Seite </a:t>
            </a:r>
            <a:fld id="{3695953A-7051-472F-A115-FF03055D9F32}" type="slidenum">
              <a:rPr lang="de-DE" smtClean="0"/>
              <a:pPr/>
              <a:t>‹Nr.›</a:t>
            </a:fld>
            <a:endParaRPr lang="de-DE" dirty="0"/>
          </a:p>
        </p:txBody>
      </p:sp>
      <p:pic>
        <p:nvPicPr>
          <p:cNvPr id="8" name="Grafik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5900190" y="234000"/>
            <a:ext cx="571087" cy="625469"/>
          </a:xfrm>
          <a:prstGeom prst="rect">
            <a:avLst/>
          </a:prstGeom>
        </p:spPr>
      </p:pic>
    </p:spTree>
    <p:extLst>
      <p:ext uri="{BB962C8B-B14F-4D97-AF65-F5344CB8AC3E}">
        <p14:creationId xmlns:p14="http://schemas.microsoft.com/office/powerpoint/2010/main" val="4145139321"/>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7" userDrawn="1">
          <p15:clr>
            <a:srgbClr val="F26B43"/>
          </p15:clr>
        </p15:guide>
        <p15:guide id="2" pos="210" userDrawn="1">
          <p15:clr>
            <a:srgbClr val="F26B43"/>
          </p15:clr>
        </p15:guide>
        <p15:guide id="3" pos="4077"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333590" y="9576951"/>
            <a:ext cx="709886" cy="138499"/>
          </a:xfrm>
          <a:prstGeom prst="rect">
            <a:avLst/>
          </a:prstGeom>
        </p:spPr>
        <p:txBody>
          <a:bodyPr vert="horz" wrap="square" lIns="0" tIns="0" rIns="0" bIns="0" rtlCol="0">
            <a:spAutoFit/>
          </a:bodyPr>
          <a:lstStyle>
            <a:lvl1pPr algn="l">
              <a:defRPr sz="900">
                <a:latin typeface="+mj-lt"/>
              </a:defRPr>
            </a:lvl1pPr>
          </a:lstStyle>
          <a:p>
            <a:fld id="{56B1D6A0-B199-4BE9-8871-68D3671DF234}" type="datetimeFigureOut">
              <a:rPr lang="de-DE" smtClean="0"/>
              <a:pPr/>
              <a:t>08.01.2022</a:t>
            </a:fld>
            <a:endParaRPr lang="de-DE" dirty="0"/>
          </a:p>
        </p:txBody>
      </p:sp>
      <p:sp>
        <p:nvSpPr>
          <p:cNvPr id="4" name="Folienbildplatzhalter 3"/>
          <p:cNvSpPr>
            <a:spLocks noGrp="1" noRot="1" noChangeAspect="1"/>
          </p:cNvSpPr>
          <p:nvPr>
            <p:ph type="sldImg" idx="2"/>
          </p:nvPr>
        </p:nvSpPr>
        <p:spPr>
          <a:xfrm>
            <a:off x="41275" y="1027113"/>
            <a:ext cx="6718300" cy="3779837"/>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333589" y="5129785"/>
            <a:ext cx="6134356" cy="4212614"/>
          </a:xfrm>
          <a:prstGeom prst="rect">
            <a:avLst/>
          </a:prstGeom>
        </p:spPr>
        <p:txBody>
          <a:bodyPr vert="horz" lIns="91440" tIns="45720" rIns="91440" bIns="45720" rtlCol="0"/>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Foliennummernplatzhalter 6"/>
          <p:cNvSpPr>
            <a:spLocks noGrp="1"/>
          </p:cNvSpPr>
          <p:nvPr>
            <p:ph type="sldNum" sz="quarter" idx="5"/>
          </p:nvPr>
        </p:nvSpPr>
        <p:spPr>
          <a:xfrm>
            <a:off x="5754199" y="9588829"/>
            <a:ext cx="713746" cy="138499"/>
          </a:xfrm>
          <a:prstGeom prst="rect">
            <a:avLst/>
          </a:prstGeom>
        </p:spPr>
        <p:txBody>
          <a:bodyPr vert="horz" wrap="square" lIns="0" tIns="0" rIns="0" bIns="0" rtlCol="0" anchor="b">
            <a:spAutoFit/>
          </a:bodyPr>
          <a:lstStyle>
            <a:lvl1pPr algn="r">
              <a:defRPr sz="900" b="1">
                <a:solidFill>
                  <a:schemeClr val="accent2"/>
                </a:solidFill>
                <a:latin typeface="+mj-lt"/>
              </a:defRPr>
            </a:lvl1pPr>
          </a:lstStyle>
          <a:p>
            <a:r>
              <a:rPr lang="de-DE" dirty="0"/>
              <a:t>Seite </a:t>
            </a:r>
            <a:fld id="{3695953A-7051-472F-A115-FF03055D9F32}" type="slidenum">
              <a:rPr lang="de-DE" smtClean="0"/>
              <a:pPr/>
              <a:t>‹Nr.›</a:t>
            </a:fld>
            <a:endParaRPr lang="de-DE" dirty="0"/>
          </a:p>
        </p:txBody>
      </p:sp>
      <p:pic>
        <p:nvPicPr>
          <p:cNvPr id="8" name="Grafik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5900190" y="234000"/>
            <a:ext cx="571087" cy="625469"/>
          </a:xfrm>
          <a:prstGeom prst="rect">
            <a:avLst/>
          </a:prstGeom>
        </p:spPr>
      </p:pic>
    </p:spTree>
    <p:extLst>
      <p:ext uri="{BB962C8B-B14F-4D97-AF65-F5344CB8AC3E}">
        <p14:creationId xmlns:p14="http://schemas.microsoft.com/office/powerpoint/2010/main" val="4004817574"/>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1200"/>
      </a:spcBef>
      <a:defRPr sz="1200" b="1" kern="1200">
        <a:solidFill>
          <a:schemeClr val="accent2"/>
        </a:solidFill>
        <a:latin typeface="+mj-lt"/>
        <a:ea typeface="+mn-ea"/>
        <a:cs typeface="+mn-cs"/>
      </a:defRPr>
    </a:lvl1pPr>
    <a:lvl2pPr marL="0" indent="0" algn="l" defTabSz="914400" rtl="0" eaLnBrk="1" latinLnBrk="0" hangingPunct="1">
      <a:spcBef>
        <a:spcPts val="600"/>
      </a:spcBef>
      <a:defRPr sz="1200" kern="1200">
        <a:solidFill>
          <a:schemeClr val="tx1"/>
        </a:solidFill>
        <a:latin typeface="+mj-lt"/>
        <a:ea typeface="+mn-ea"/>
        <a:cs typeface="+mn-cs"/>
      </a:defRPr>
    </a:lvl2pPr>
    <a:lvl3pPr marL="180000" indent="-180000" algn="l" defTabSz="914400" rtl="0" eaLnBrk="1" latinLnBrk="0" hangingPunct="1">
      <a:spcBef>
        <a:spcPts val="300"/>
      </a:spcBef>
      <a:buClr>
        <a:schemeClr val="accent2"/>
      </a:buClr>
      <a:buFont typeface="DFB Sans Ofc" panose="020B0503030500020204"/>
      <a:buChar char="›"/>
      <a:defRPr sz="1200" kern="1200">
        <a:solidFill>
          <a:schemeClr val="tx1"/>
        </a:solidFill>
        <a:latin typeface="+mj-lt"/>
        <a:ea typeface="+mn-ea"/>
        <a:cs typeface="+mn-cs"/>
      </a:defRPr>
    </a:lvl3pPr>
    <a:lvl4pPr marL="360000" indent="-180000" algn="l" defTabSz="914400" rtl="0" eaLnBrk="1" latinLnBrk="0" hangingPunct="1">
      <a:spcBef>
        <a:spcPts val="300"/>
      </a:spcBef>
      <a:buClr>
        <a:schemeClr val="accent2"/>
      </a:buClr>
      <a:buFont typeface="DFB Sans Ofc" panose="020B0503030500020204"/>
      <a:buChar char="›"/>
      <a:defRPr sz="1200" kern="1200">
        <a:solidFill>
          <a:schemeClr val="tx1"/>
        </a:solidFill>
        <a:latin typeface="+mj-lt"/>
        <a:ea typeface="+mn-ea"/>
        <a:cs typeface="+mn-cs"/>
      </a:defRPr>
    </a:lvl4pPr>
    <a:lvl5pPr marL="270000" indent="-270000" algn="l" defTabSz="914400" rtl="0" eaLnBrk="1" latinLnBrk="0" hangingPunct="1">
      <a:spcBef>
        <a:spcPts val="600"/>
      </a:spcBef>
      <a:buClr>
        <a:schemeClr val="accent2"/>
      </a:buClr>
      <a:buFont typeface="Arial" panose="020B0604020202020204" pitchFamily="34" charset="0"/>
      <a:buChar char="→"/>
      <a:defRPr sz="1200" kern="1200">
        <a:solidFill>
          <a:schemeClr val="tx1"/>
        </a:solidFill>
        <a:latin typeface="+mj-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27" userDrawn="1">
          <p15:clr>
            <a:srgbClr val="F26B43"/>
          </p15:clr>
        </p15:guide>
        <p15:guide id="3" pos="2121" userDrawn="1">
          <p15:clr>
            <a:srgbClr val="F26B43"/>
          </p15:clr>
        </p15:guide>
        <p15:guide id="4" pos="210" userDrawn="1">
          <p15:clr>
            <a:srgbClr val="F26B43"/>
          </p15:clr>
        </p15:guide>
        <p15:guide id="5" pos="4077"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r>
              <a:rPr lang="de-DE" dirty="0"/>
              <a:t>Seite </a:t>
            </a:r>
            <a:fld id="{3695953A-7051-472F-A115-FF03055D9F32}" type="slidenum">
              <a:rPr lang="de-DE" smtClean="0"/>
              <a:pPr/>
              <a:t>1</a:t>
            </a:fld>
            <a:endParaRPr lang="de-DE" dirty="0"/>
          </a:p>
        </p:txBody>
      </p:sp>
    </p:spTree>
    <p:extLst>
      <p:ext uri="{BB962C8B-B14F-4D97-AF65-F5344CB8AC3E}">
        <p14:creationId xmlns:p14="http://schemas.microsoft.com/office/powerpoint/2010/main" val="126808708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ohne Bild">
    <p:spTree>
      <p:nvGrpSpPr>
        <p:cNvPr id="1" name=""/>
        <p:cNvGrpSpPr/>
        <p:nvPr/>
      </p:nvGrpSpPr>
      <p:grpSpPr>
        <a:xfrm>
          <a:off x="0" y="0"/>
          <a:ext cx="0" cy="0"/>
          <a:chOff x="0" y="0"/>
          <a:chExt cx="0" cy="0"/>
        </a:xfrm>
      </p:grpSpPr>
      <p:sp>
        <p:nvSpPr>
          <p:cNvPr id="2" name="Titel 1"/>
          <p:cNvSpPr>
            <a:spLocks noGrp="1"/>
          </p:cNvSpPr>
          <p:nvPr>
            <p:ph type="ctrTitle"/>
          </p:nvPr>
        </p:nvSpPr>
        <p:spPr bwMode="gray">
          <a:xfrm>
            <a:off x="444843" y="3756944"/>
            <a:ext cx="11301057" cy="1025922"/>
          </a:xfrm>
        </p:spPr>
        <p:txBody>
          <a:bodyPr anchor="b" anchorCtr="0"/>
          <a:lstStyle>
            <a:lvl1pPr>
              <a:lnSpc>
                <a:spcPts val="4000"/>
              </a:lnSpc>
              <a:defRPr sz="3699" baseline="0"/>
            </a:lvl1pPr>
          </a:lstStyle>
          <a:p>
            <a:r>
              <a:rPr lang="de-DE" noProof="0" dirty="0"/>
              <a:t>Titelmasterformat durch Klicken bearbeiten</a:t>
            </a:r>
          </a:p>
        </p:txBody>
      </p:sp>
      <p:sp>
        <p:nvSpPr>
          <p:cNvPr id="3" name="Untertitel 2"/>
          <p:cNvSpPr>
            <a:spLocks noGrp="1"/>
          </p:cNvSpPr>
          <p:nvPr>
            <p:ph type="subTitle" idx="1"/>
          </p:nvPr>
        </p:nvSpPr>
        <p:spPr bwMode="gray">
          <a:xfrm>
            <a:off x="444843" y="4981934"/>
            <a:ext cx="11301057" cy="256480"/>
          </a:xfrm>
        </p:spPr>
        <p:txBody>
          <a:bodyPr>
            <a:spAutoFit/>
          </a:bodyPr>
          <a:lstStyle>
            <a:lvl1pPr marL="0" indent="0" algn="l">
              <a:spcBef>
                <a:spcPts val="0"/>
              </a:spcBef>
              <a:buNone/>
              <a:defRPr b="1" i="0" cap="all" spc="230" baseline="0">
                <a:solidFill>
                  <a:schemeClr val="tx1"/>
                </a:solidFil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de-DE" noProof="0" dirty="0"/>
              <a:t>Formatvorlage des Untertitelmasters durch Klicken bearbeiten</a:t>
            </a:r>
          </a:p>
        </p:txBody>
      </p:sp>
      <p:sp>
        <p:nvSpPr>
          <p:cNvPr id="10" name="Textplatzhalter 9"/>
          <p:cNvSpPr>
            <a:spLocks noGrp="1"/>
          </p:cNvSpPr>
          <p:nvPr>
            <p:ph type="body" sz="quarter" idx="10"/>
          </p:nvPr>
        </p:nvSpPr>
        <p:spPr bwMode="gray">
          <a:xfrm>
            <a:off x="444843" y="5428557"/>
            <a:ext cx="11301057" cy="205184"/>
          </a:xfrm>
        </p:spPr>
        <p:txBody>
          <a:bodyPr/>
          <a:lstStyle>
            <a:lvl1pPr marL="0" indent="0">
              <a:lnSpc>
                <a:spcPts val="1600"/>
              </a:lnSpc>
              <a:spcBef>
                <a:spcPts val="100"/>
              </a:spcBef>
              <a:buFont typeface="+mj-lt"/>
              <a:buNone/>
              <a:defRPr sz="1200" b="1">
                <a:solidFill>
                  <a:schemeClr val="tx1"/>
                </a:solidFill>
              </a:defRPr>
            </a:lvl1pPr>
            <a:lvl2pPr>
              <a:lnSpc>
                <a:spcPts val="1600"/>
              </a:lnSpc>
              <a:spcBef>
                <a:spcPts val="100"/>
              </a:spcBef>
              <a:defRPr sz="1200" b="0">
                <a:solidFill>
                  <a:schemeClr val="tx1"/>
                </a:solidFill>
              </a:defRPr>
            </a:lvl2pPr>
            <a:lvl3pPr marL="0" indent="0">
              <a:lnSpc>
                <a:spcPts val="1600"/>
              </a:lnSpc>
              <a:buNone/>
              <a:defRPr sz="1200"/>
            </a:lvl3pPr>
          </a:lstStyle>
          <a:p>
            <a:pPr lvl="0"/>
            <a:r>
              <a:rPr lang="de-DE" noProof="0" dirty="0"/>
              <a:t>Formatvorlagen des Textmasters bearbeiten</a:t>
            </a:r>
          </a:p>
        </p:txBody>
      </p:sp>
      <p:pic>
        <p:nvPicPr>
          <p:cNvPr id="4" name="Grafik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5466164" y="563254"/>
            <a:ext cx="1259672" cy="1370141"/>
          </a:xfrm>
          <a:prstGeom prst="rect">
            <a:avLst/>
          </a:prstGeom>
        </p:spPr>
      </p:pic>
      <p:grpSp>
        <p:nvGrpSpPr>
          <p:cNvPr id="18" name="Gruppieren 17"/>
          <p:cNvGrpSpPr/>
          <p:nvPr userDrawn="1"/>
        </p:nvGrpSpPr>
        <p:grpSpPr bwMode="gray">
          <a:xfrm>
            <a:off x="449295" y="-153684"/>
            <a:ext cx="11297861" cy="108000"/>
            <a:chOff x="449412" y="0"/>
            <a:chExt cx="11300803" cy="108000"/>
          </a:xfrm>
        </p:grpSpPr>
        <p:sp>
          <p:nvSpPr>
            <p:cNvPr id="20" name="Freihandform: Form 19"/>
            <p:cNvSpPr/>
            <p:nvPr userDrawn="1"/>
          </p:nvSpPr>
          <p:spPr bwMode="gray">
            <a:xfrm>
              <a:off x="449412"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21" name="Freihandform: Form 20"/>
            <p:cNvSpPr/>
            <p:nvPr userDrawn="1"/>
          </p:nvSpPr>
          <p:spPr bwMode="gray">
            <a:xfrm>
              <a:off x="5950099"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22" name="Freihandform: Form 21"/>
            <p:cNvSpPr/>
            <p:nvPr userDrawn="1"/>
          </p:nvSpPr>
          <p:spPr bwMode="gray">
            <a:xfrm>
              <a:off x="6242050"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23" name="Freihandform: Form 22"/>
            <p:cNvSpPr/>
            <p:nvPr userDrawn="1"/>
          </p:nvSpPr>
          <p:spPr bwMode="gray">
            <a:xfrm>
              <a:off x="11750215"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grpSp>
      <p:grpSp>
        <p:nvGrpSpPr>
          <p:cNvPr id="24" name="Gruppieren 23"/>
          <p:cNvGrpSpPr/>
          <p:nvPr userDrawn="1"/>
        </p:nvGrpSpPr>
        <p:grpSpPr bwMode="gray">
          <a:xfrm>
            <a:off x="449295" y="6903684"/>
            <a:ext cx="11297861" cy="108000"/>
            <a:chOff x="449412" y="0"/>
            <a:chExt cx="11300803" cy="108000"/>
          </a:xfrm>
        </p:grpSpPr>
        <p:sp>
          <p:nvSpPr>
            <p:cNvPr id="26" name="Freihandform: Form 25"/>
            <p:cNvSpPr/>
            <p:nvPr userDrawn="1"/>
          </p:nvSpPr>
          <p:spPr bwMode="gray">
            <a:xfrm>
              <a:off x="449412"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27" name="Freihandform: Form 26"/>
            <p:cNvSpPr/>
            <p:nvPr userDrawn="1"/>
          </p:nvSpPr>
          <p:spPr bwMode="gray">
            <a:xfrm>
              <a:off x="5950099"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28" name="Freihandform: Form 27"/>
            <p:cNvSpPr/>
            <p:nvPr userDrawn="1"/>
          </p:nvSpPr>
          <p:spPr bwMode="gray">
            <a:xfrm>
              <a:off x="6242050"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29" name="Freihandform: Form 28"/>
            <p:cNvSpPr/>
            <p:nvPr userDrawn="1"/>
          </p:nvSpPr>
          <p:spPr bwMode="gray">
            <a:xfrm>
              <a:off x="11750215"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grpSp>
      <p:grpSp>
        <p:nvGrpSpPr>
          <p:cNvPr id="30" name="Gruppieren 29"/>
          <p:cNvGrpSpPr/>
          <p:nvPr userDrawn="1"/>
        </p:nvGrpSpPr>
        <p:grpSpPr>
          <a:xfrm>
            <a:off x="-149354" y="1664804"/>
            <a:ext cx="107973" cy="4500500"/>
            <a:chOff x="-149393" y="1664804"/>
            <a:chExt cx="108001" cy="4500500"/>
          </a:xfrm>
        </p:grpSpPr>
        <p:sp>
          <p:nvSpPr>
            <p:cNvPr id="31" name="Freihandform: Form 30"/>
            <p:cNvSpPr/>
            <p:nvPr userDrawn="1"/>
          </p:nvSpPr>
          <p:spPr>
            <a:xfrm rot="16200000">
              <a:off x="-95392" y="6111304"/>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32" name="Freihandform: Form 31"/>
            <p:cNvSpPr/>
            <p:nvPr userDrawn="1"/>
          </p:nvSpPr>
          <p:spPr>
            <a:xfrm rot="16200000">
              <a:off x="-95393" y="1610804"/>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grpSp>
      <p:grpSp>
        <p:nvGrpSpPr>
          <p:cNvPr id="33" name="Gruppieren 32"/>
          <p:cNvGrpSpPr/>
          <p:nvPr userDrawn="1"/>
        </p:nvGrpSpPr>
        <p:grpSpPr bwMode="gray">
          <a:xfrm>
            <a:off x="12233381" y="1664804"/>
            <a:ext cx="107973" cy="4500500"/>
            <a:chOff x="-149393" y="1664804"/>
            <a:chExt cx="108001" cy="4500500"/>
          </a:xfrm>
        </p:grpSpPr>
        <p:sp>
          <p:nvSpPr>
            <p:cNvPr id="34" name="Freihandform: Form 33"/>
            <p:cNvSpPr/>
            <p:nvPr userDrawn="1"/>
          </p:nvSpPr>
          <p:spPr bwMode="gray">
            <a:xfrm rot="16200000">
              <a:off x="-95392" y="6111304"/>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35" name="Freihandform: Form 34"/>
            <p:cNvSpPr/>
            <p:nvPr userDrawn="1"/>
          </p:nvSpPr>
          <p:spPr bwMode="gray">
            <a:xfrm rot="16200000">
              <a:off x="-95393" y="1610804"/>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grpSp>
      <p:sp>
        <p:nvSpPr>
          <p:cNvPr id="54" name="Freihandform: Form 53"/>
          <p:cNvSpPr/>
          <p:nvPr userDrawn="1"/>
        </p:nvSpPr>
        <p:spPr bwMode="gray">
          <a:xfrm>
            <a:off x="2230292" y="0"/>
            <a:ext cx="7719990" cy="3196710"/>
          </a:xfrm>
          <a:custGeom>
            <a:avLst/>
            <a:gdLst>
              <a:gd name="connsiteX0" fmla="*/ 2501972 w 7722000"/>
              <a:gd name="connsiteY0" fmla="*/ 2484000 h 3196710"/>
              <a:gd name="connsiteX1" fmla="*/ 2519416 w 7722000"/>
              <a:gd name="connsiteY1" fmla="*/ 2507328 h 3196710"/>
              <a:gd name="connsiteX2" fmla="*/ 3866714 w 7722000"/>
              <a:gd name="connsiteY2" fmla="*/ 3142710 h 3196710"/>
              <a:gd name="connsiteX3" fmla="*/ 5214013 w 7722000"/>
              <a:gd name="connsiteY3" fmla="*/ 2507328 h 3196710"/>
              <a:gd name="connsiteX4" fmla="*/ 5231457 w 7722000"/>
              <a:gd name="connsiteY4" fmla="*/ 2484000 h 3196710"/>
              <a:gd name="connsiteX5" fmla="*/ 2055661 w 7722000"/>
              <a:gd name="connsiteY5" fmla="*/ 0 h 3196710"/>
              <a:gd name="connsiteX6" fmla="*/ 2109661 w 7722000"/>
              <a:gd name="connsiteY6" fmla="*/ 0 h 3196710"/>
              <a:gd name="connsiteX7" fmla="*/ 2109661 w 7722000"/>
              <a:gd name="connsiteY7" fmla="*/ 252000 h 3196710"/>
              <a:gd name="connsiteX8" fmla="*/ 5601661 w 7722000"/>
              <a:gd name="connsiteY8" fmla="*/ 252000 h 3196710"/>
              <a:gd name="connsiteX9" fmla="*/ 5601661 w 7722000"/>
              <a:gd name="connsiteY9" fmla="*/ 0 h 3196710"/>
              <a:gd name="connsiteX10" fmla="*/ 5655661 w 7722000"/>
              <a:gd name="connsiteY10" fmla="*/ 0 h 3196710"/>
              <a:gd name="connsiteX11" fmla="*/ 5655661 w 7722000"/>
              <a:gd name="connsiteY11" fmla="*/ 306000 h 3196710"/>
              <a:gd name="connsiteX12" fmla="*/ 2055661 w 7722000"/>
              <a:gd name="connsiteY12" fmla="*/ 306000 h 3196710"/>
              <a:gd name="connsiteX13" fmla="*/ 0 w 7722000"/>
              <a:gd name="connsiteY13" fmla="*/ 0 h 3196710"/>
              <a:gd name="connsiteX14" fmla="*/ 54000 w 7722000"/>
              <a:gd name="connsiteY14" fmla="*/ 0 h 3196710"/>
              <a:gd name="connsiteX15" fmla="*/ 54000 w 7722000"/>
              <a:gd name="connsiteY15" fmla="*/ 2430000 h 3196710"/>
              <a:gd name="connsiteX16" fmla="*/ 7668000 w 7722000"/>
              <a:gd name="connsiteY16" fmla="*/ 2430000 h 3196710"/>
              <a:gd name="connsiteX17" fmla="*/ 7668000 w 7722000"/>
              <a:gd name="connsiteY17" fmla="*/ 0 h 3196710"/>
              <a:gd name="connsiteX18" fmla="*/ 7722000 w 7722000"/>
              <a:gd name="connsiteY18" fmla="*/ 0 h 3196710"/>
              <a:gd name="connsiteX19" fmla="*/ 7722000 w 7722000"/>
              <a:gd name="connsiteY19" fmla="*/ 2484000 h 3196710"/>
              <a:gd name="connsiteX20" fmla="*/ 5298813 w 7722000"/>
              <a:gd name="connsiteY20" fmla="*/ 2484000 h 3196710"/>
              <a:gd name="connsiteX21" fmla="*/ 5255682 w 7722000"/>
              <a:gd name="connsiteY21" fmla="*/ 2541677 h 3196710"/>
              <a:gd name="connsiteX22" fmla="*/ 3866714 w 7722000"/>
              <a:gd name="connsiteY22" fmla="*/ 3196710 h 3196710"/>
              <a:gd name="connsiteX23" fmla="*/ 2477747 w 7722000"/>
              <a:gd name="connsiteY23" fmla="*/ 2541677 h 3196710"/>
              <a:gd name="connsiteX24" fmla="*/ 2434617 w 7722000"/>
              <a:gd name="connsiteY24" fmla="*/ 2484000 h 3196710"/>
              <a:gd name="connsiteX25" fmla="*/ 0 w 7722000"/>
              <a:gd name="connsiteY25" fmla="*/ 2484000 h 3196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722000" h="3196710">
                <a:moveTo>
                  <a:pt x="2501972" y="2484000"/>
                </a:moveTo>
                <a:lnTo>
                  <a:pt x="2519416" y="2507328"/>
                </a:lnTo>
                <a:cubicBezTo>
                  <a:pt x="2839658" y="2895372"/>
                  <a:pt x="3324302" y="3142710"/>
                  <a:pt x="3866714" y="3142710"/>
                </a:cubicBezTo>
                <a:cubicBezTo>
                  <a:pt x="4409127" y="3142710"/>
                  <a:pt x="4893771" y="2895372"/>
                  <a:pt x="5214013" y="2507328"/>
                </a:cubicBezTo>
                <a:lnTo>
                  <a:pt x="5231457" y="2484000"/>
                </a:lnTo>
                <a:close/>
                <a:moveTo>
                  <a:pt x="2055661" y="0"/>
                </a:moveTo>
                <a:lnTo>
                  <a:pt x="2109661" y="0"/>
                </a:lnTo>
                <a:lnTo>
                  <a:pt x="2109661" y="252000"/>
                </a:lnTo>
                <a:lnTo>
                  <a:pt x="5601661" y="252000"/>
                </a:lnTo>
                <a:lnTo>
                  <a:pt x="5601661" y="0"/>
                </a:lnTo>
                <a:lnTo>
                  <a:pt x="5655661" y="0"/>
                </a:lnTo>
                <a:lnTo>
                  <a:pt x="5655661" y="306000"/>
                </a:lnTo>
                <a:lnTo>
                  <a:pt x="2055661" y="306000"/>
                </a:lnTo>
                <a:close/>
                <a:moveTo>
                  <a:pt x="0" y="0"/>
                </a:moveTo>
                <a:lnTo>
                  <a:pt x="54000" y="0"/>
                </a:lnTo>
                <a:lnTo>
                  <a:pt x="54000" y="2430000"/>
                </a:lnTo>
                <a:lnTo>
                  <a:pt x="7668000" y="2430000"/>
                </a:lnTo>
                <a:lnTo>
                  <a:pt x="7668000" y="0"/>
                </a:lnTo>
                <a:lnTo>
                  <a:pt x="7722000" y="0"/>
                </a:lnTo>
                <a:lnTo>
                  <a:pt x="7722000" y="2484000"/>
                </a:lnTo>
                <a:lnTo>
                  <a:pt x="5298813" y="2484000"/>
                </a:lnTo>
                <a:lnTo>
                  <a:pt x="5255682" y="2541677"/>
                </a:lnTo>
                <a:cubicBezTo>
                  <a:pt x="4925536" y="2941722"/>
                  <a:pt x="4425903" y="3196710"/>
                  <a:pt x="3866714" y="3196710"/>
                </a:cubicBezTo>
                <a:cubicBezTo>
                  <a:pt x="3307526" y="3196710"/>
                  <a:pt x="2807893" y="2941722"/>
                  <a:pt x="2477747" y="2541677"/>
                </a:cubicBezTo>
                <a:lnTo>
                  <a:pt x="2434617" y="2484000"/>
                </a:lnTo>
                <a:lnTo>
                  <a:pt x="0" y="2484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25" name="Textplatzhalter 9"/>
          <p:cNvSpPr>
            <a:spLocks noGrp="1"/>
          </p:cNvSpPr>
          <p:nvPr>
            <p:ph type="body" sz="quarter" idx="11"/>
          </p:nvPr>
        </p:nvSpPr>
        <p:spPr bwMode="gray">
          <a:xfrm>
            <a:off x="444843" y="5613429"/>
            <a:ext cx="11301057" cy="205184"/>
          </a:xfrm>
        </p:spPr>
        <p:txBody>
          <a:bodyPr/>
          <a:lstStyle>
            <a:lvl1pPr marL="0" indent="0">
              <a:lnSpc>
                <a:spcPts val="1600"/>
              </a:lnSpc>
              <a:spcBef>
                <a:spcPts val="100"/>
              </a:spcBef>
              <a:buFont typeface="+mj-lt"/>
              <a:buNone/>
              <a:defRPr sz="1200" b="1">
                <a:solidFill>
                  <a:schemeClr val="tx1"/>
                </a:solidFill>
              </a:defRPr>
            </a:lvl1pPr>
            <a:lvl2pPr>
              <a:lnSpc>
                <a:spcPts val="1600"/>
              </a:lnSpc>
              <a:spcBef>
                <a:spcPts val="100"/>
              </a:spcBef>
              <a:defRPr sz="1200" b="0">
                <a:solidFill>
                  <a:schemeClr val="tx1"/>
                </a:solidFill>
              </a:defRPr>
            </a:lvl2pPr>
            <a:lvl3pPr marL="0" indent="0">
              <a:lnSpc>
                <a:spcPts val="1600"/>
              </a:lnSpc>
              <a:buNone/>
              <a:defRPr sz="1200"/>
            </a:lvl3pPr>
          </a:lstStyle>
          <a:p>
            <a:pPr lvl="0"/>
            <a:r>
              <a:rPr lang="de-DE" noProof="0" dirty="0"/>
              <a:t>Formatvorlagen des Textmasters bearbeiten</a:t>
            </a:r>
          </a:p>
        </p:txBody>
      </p:sp>
    </p:spTree>
    <p:extLst>
      <p:ext uri="{BB962C8B-B14F-4D97-AF65-F5344CB8AC3E}">
        <p14:creationId xmlns:p14="http://schemas.microsoft.com/office/powerpoint/2010/main" val="18922977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und Bild">
    <p:spTree>
      <p:nvGrpSpPr>
        <p:cNvPr id="1" name=""/>
        <p:cNvGrpSpPr/>
        <p:nvPr/>
      </p:nvGrpSpPr>
      <p:grpSpPr>
        <a:xfrm>
          <a:off x="0" y="0"/>
          <a:ext cx="0" cy="0"/>
          <a:chOff x="0" y="0"/>
          <a:chExt cx="0" cy="0"/>
        </a:xfrm>
      </p:grpSpPr>
      <p:sp>
        <p:nvSpPr>
          <p:cNvPr id="2" name="Titel 1"/>
          <p:cNvSpPr>
            <a:spLocks noGrp="1"/>
          </p:cNvSpPr>
          <p:nvPr>
            <p:ph type="title"/>
          </p:nvPr>
        </p:nvSpPr>
        <p:spPr bwMode="gray">
          <a:xfrm>
            <a:off x="444843" y="712800"/>
            <a:ext cx="10113366" cy="743793"/>
          </a:xfrm>
        </p:spPr>
        <p:txBody>
          <a:bodyPr/>
          <a:lstStyle/>
          <a:p>
            <a:r>
              <a:rPr lang="de-DE" noProof="0" dirty="0"/>
              <a:t>Titelmasterformat durch Klicken bearbeiten</a:t>
            </a:r>
          </a:p>
        </p:txBody>
      </p:sp>
      <p:sp>
        <p:nvSpPr>
          <p:cNvPr id="4" name="Datumsplatzhalter 3"/>
          <p:cNvSpPr>
            <a:spLocks noGrp="1"/>
          </p:cNvSpPr>
          <p:nvPr>
            <p:ph type="dt" sz="half" idx="10"/>
          </p:nvPr>
        </p:nvSpPr>
        <p:spPr bwMode="gray"/>
        <p:txBody>
          <a:bodyPr/>
          <a:lstStyle/>
          <a:p>
            <a:fld id="{A4171974-4E80-4652-BD21-C9AF83782833}" type="datetime1">
              <a:rPr lang="de-DE" noProof="0" smtClean="0"/>
              <a:t>08.01.2022</a:t>
            </a:fld>
            <a:endParaRPr lang="de-DE" noProof="0" dirty="0"/>
          </a:p>
        </p:txBody>
      </p:sp>
      <p:sp>
        <p:nvSpPr>
          <p:cNvPr id="5" name="Fußzeilenplatzhalter 4"/>
          <p:cNvSpPr>
            <a:spLocks noGrp="1"/>
          </p:cNvSpPr>
          <p:nvPr>
            <p:ph type="ftr" sz="quarter" idx="11"/>
          </p:nvPr>
        </p:nvSpPr>
        <p:spPr bwMode="gray"/>
        <p:txBody>
          <a:bodyPr/>
          <a:lstStyle/>
          <a:p>
            <a:r>
              <a:rPr lang="de-DE" noProof="0" dirty="0"/>
              <a:t>/  Styleguide, Musterfolien für Präsentationen</a:t>
            </a:r>
          </a:p>
        </p:txBody>
      </p:sp>
      <p:sp>
        <p:nvSpPr>
          <p:cNvPr id="6" name="Foliennummernplatzhalter 5"/>
          <p:cNvSpPr>
            <a:spLocks noGrp="1"/>
          </p:cNvSpPr>
          <p:nvPr>
            <p:ph type="sldNum" sz="quarter" idx="12"/>
          </p:nvPr>
        </p:nvSpPr>
        <p:spPr bwMode="gray"/>
        <p:txBody>
          <a:bodyPr/>
          <a:lstStyle/>
          <a:p>
            <a:r>
              <a:rPr lang="de-DE" noProof="0" dirty="0"/>
              <a:t>Seite </a:t>
            </a:r>
            <a:fld id="{105F6080-11B6-4F5B-BFCF-ADAD48E4948B}" type="slidenum">
              <a:rPr lang="de-DE" noProof="0" smtClean="0"/>
              <a:pPr/>
              <a:t>‹Nr.›</a:t>
            </a:fld>
            <a:endParaRPr lang="de-DE" noProof="0" dirty="0"/>
          </a:p>
        </p:txBody>
      </p:sp>
      <p:sp>
        <p:nvSpPr>
          <p:cNvPr id="8" name="Textplatzhalter 7"/>
          <p:cNvSpPr>
            <a:spLocks noGrp="1"/>
          </p:cNvSpPr>
          <p:nvPr>
            <p:ph type="body" sz="quarter" idx="13"/>
          </p:nvPr>
        </p:nvSpPr>
        <p:spPr bwMode="gray">
          <a:xfrm>
            <a:off x="444842" y="1616607"/>
            <a:ext cx="5506566" cy="1641475"/>
          </a:xfrm>
        </p:spPr>
        <p:txBody>
          <a:bodyPr/>
          <a:lstStyle>
            <a:lvl4pPr>
              <a:defRPr/>
            </a:lvl4p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13" name="Bildplatzhalter 8"/>
          <p:cNvSpPr>
            <a:spLocks noGrp="1"/>
          </p:cNvSpPr>
          <p:nvPr>
            <p:ph type="pic" sz="quarter" idx="17"/>
          </p:nvPr>
        </p:nvSpPr>
        <p:spPr bwMode="gray">
          <a:xfrm>
            <a:off x="6242805" y="1665288"/>
            <a:ext cx="5506566" cy="4500562"/>
          </a:xfrm>
          <a:noFill/>
        </p:spPr>
        <p:txBody>
          <a:bodyPr tIns="72000">
            <a:noAutofit/>
          </a:bodyPr>
          <a:lstStyle>
            <a:lvl1pPr algn="ctr">
              <a:defRPr b="0">
                <a:solidFill>
                  <a:schemeClr val="tx1"/>
                </a:solidFill>
              </a:defRPr>
            </a:lvl1pPr>
          </a:lstStyle>
          <a:p>
            <a:endParaRPr lang="de-DE" noProof="0" dirty="0"/>
          </a:p>
        </p:txBody>
      </p:sp>
      <p:sp>
        <p:nvSpPr>
          <p:cNvPr id="14" name="Textplatzhalter 8"/>
          <p:cNvSpPr>
            <a:spLocks noGrp="1"/>
          </p:cNvSpPr>
          <p:nvPr>
            <p:ph type="body" sz="quarter" idx="18"/>
          </p:nvPr>
        </p:nvSpPr>
        <p:spPr bwMode="gray">
          <a:xfrm>
            <a:off x="444843" y="6019288"/>
            <a:ext cx="5506566" cy="192360"/>
          </a:xfrm>
        </p:spPr>
        <p:txBody>
          <a:bodyPr anchor="b" anchorCtr="0"/>
          <a:lstStyle>
            <a:lvl1pPr>
              <a:lnSpc>
                <a:spcPts val="1500"/>
              </a:lnSpc>
              <a:spcBef>
                <a:spcPts val="0"/>
              </a:spcBef>
              <a:defRPr sz="1200" b="0">
                <a:solidFill>
                  <a:schemeClr val="tx1"/>
                </a:solidFill>
              </a:defRPr>
            </a:lvl1pPr>
          </a:lstStyle>
          <a:p>
            <a:pPr lvl="0"/>
            <a:r>
              <a:rPr lang="de-DE" noProof="0" dirty="0"/>
              <a:t>Formatvorlagen des Textmasters bearbeiten</a:t>
            </a:r>
          </a:p>
        </p:txBody>
      </p:sp>
      <p:sp>
        <p:nvSpPr>
          <p:cNvPr id="10" name="Textplatzhalter 13"/>
          <p:cNvSpPr>
            <a:spLocks noGrp="1"/>
          </p:cNvSpPr>
          <p:nvPr>
            <p:ph type="body" sz="quarter" idx="16" hasCustomPrompt="1"/>
          </p:nvPr>
        </p:nvSpPr>
        <p:spPr>
          <a:xfrm>
            <a:off x="444843" y="432000"/>
            <a:ext cx="10114504" cy="184666"/>
          </a:xfrm>
        </p:spPr>
        <p:txBody>
          <a:bodyPr/>
          <a:lstStyle>
            <a:lvl1pPr>
              <a:lnSpc>
                <a:spcPct val="100000"/>
              </a:lnSpc>
              <a:spcBef>
                <a:spcPts val="0"/>
              </a:spcBef>
              <a:defRPr sz="1200" b="1" u="sng" cap="all" spc="190" baseline="0">
                <a:solidFill>
                  <a:schemeClr val="tx1"/>
                </a:solidFill>
                <a:uFill>
                  <a:solidFill>
                    <a:schemeClr val="accent2"/>
                  </a:solidFill>
                </a:uFill>
              </a:defRPr>
            </a:lvl1pPr>
          </a:lstStyle>
          <a:p>
            <a:pPr lvl="0"/>
            <a:r>
              <a:rPr lang="de-DE" dirty="0"/>
              <a:t>headline</a:t>
            </a:r>
          </a:p>
        </p:txBody>
      </p:sp>
    </p:spTree>
    <p:extLst>
      <p:ext uri="{BB962C8B-B14F-4D97-AF65-F5344CB8AC3E}">
        <p14:creationId xmlns:p14="http://schemas.microsoft.com/office/powerpoint/2010/main" val="7128228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 Bilder mit Bildunterschrift">
    <p:spTree>
      <p:nvGrpSpPr>
        <p:cNvPr id="1" name=""/>
        <p:cNvGrpSpPr/>
        <p:nvPr/>
      </p:nvGrpSpPr>
      <p:grpSpPr>
        <a:xfrm>
          <a:off x="0" y="0"/>
          <a:ext cx="0" cy="0"/>
          <a:chOff x="0" y="0"/>
          <a:chExt cx="0" cy="0"/>
        </a:xfrm>
      </p:grpSpPr>
      <p:sp>
        <p:nvSpPr>
          <p:cNvPr id="2" name="Titel 1"/>
          <p:cNvSpPr>
            <a:spLocks noGrp="1"/>
          </p:cNvSpPr>
          <p:nvPr>
            <p:ph type="title"/>
          </p:nvPr>
        </p:nvSpPr>
        <p:spPr bwMode="gray">
          <a:xfrm>
            <a:off x="444843" y="712800"/>
            <a:ext cx="10113366" cy="743793"/>
          </a:xfrm>
        </p:spPr>
        <p:txBody>
          <a:bodyPr/>
          <a:lstStyle/>
          <a:p>
            <a:r>
              <a:rPr lang="de-DE" noProof="0" dirty="0"/>
              <a:t>Titelmasterformat durch Klicken bearbeiten</a:t>
            </a:r>
          </a:p>
        </p:txBody>
      </p:sp>
      <p:sp>
        <p:nvSpPr>
          <p:cNvPr id="4" name="Datumsplatzhalter 3"/>
          <p:cNvSpPr>
            <a:spLocks noGrp="1"/>
          </p:cNvSpPr>
          <p:nvPr>
            <p:ph type="dt" sz="half" idx="10"/>
          </p:nvPr>
        </p:nvSpPr>
        <p:spPr bwMode="gray"/>
        <p:txBody>
          <a:bodyPr/>
          <a:lstStyle/>
          <a:p>
            <a:fld id="{C73E48CD-0C17-4186-8D35-C5AEF08AD373}" type="datetime1">
              <a:rPr lang="de-DE" noProof="0" smtClean="0"/>
              <a:t>08.01.2022</a:t>
            </a:fld>
            <a:endParaRPr lang="de-DE" noProof="0" dirty="0"/>
          </a:p>
        </p:txBody>
      </p:sp>
      <p:sp>
        <p:nvSpPr>
          <p:cNvPr id="5" name="Fußzeilenplatzhalter 4"/>
          <p:cNvSpPr>
            <a:spLocks noGrp="1"/>
          </p:cNvSpPr>
          <p:nvPr>
            <p:ph type="ftr" sz="quarter" idx="11"/>
          </p:nvPr>
        </p:nvSpPr>
        <p:spPr bwMode="gray"/>
        <p:txBody>
          <a:bodyPr/>
          <a:lstStyle/>
          <a:p>
            <a:r>
              <a:rPr lang="de-DE" noProof="0" dirty="0"/>
              <a:t>/  Styleguide, Musterfolien für Präsentationen</a:t>
            </a:r>
          </a:p>
        </p:txBody>
      </p:sp>
      <p:sp>
        <p:nvSpPr>
          <p:cNvPr id="6" name="Foliennummernplatzhalter 5"/>
          <p:cNvSpPr>
            <a:spLocks noGrp="1"/>
          </p:cNvSpPr>
          <p:nvPr>
            <p:ph type="sldNum" sz="quarter" idx="12"/>
          </p:nvPr>
        </p:nvSpPr>
        <p:spPr bwMode="gray"/>
        <p:txBody>
          <a:bodyPr/>
          <a:lstStyle/>
          <a:p>
            <a:r>
              <a:rPr lang="de-DE" noProof="0" dirty="0"/>
              <a:t>Seite </a:t>
            </a:r>
            <a:fld id="{105F6080-11B6-4F5B-BFCF-ADAD48E4948B}" type="slidenum">
              <a:rPr lang="de-DE" noProof="0" smtClean="0"/>
              <a:pPr/>
              <a:t>‹Nr.›</a:t>
            </a:fld>
            <a:endParaRPr lang="de-DE" noProof="0" dirty="0"/>
          </a:p>
        </p:txBody>
      </p:sp>
      <p:sp>
        <p:nvSpPr>
          <p:cNvPr id="13" name="Bildplatzhalter 8"/>
          <p:cNvSpPr>
            <a:spLocks noGrp="1"/>
          </p:cNvSpPr>
          <p:nvPr>
            <p:ph type="pic" sz="quarter" idx="17"/>
          </p:nvPr>
        </p:nvSpPr>
        <p:spPr bwMode="gray">
          <a:xfrm>
            <a:off x="444843" y="1665288"/>
            <a:ext cx="2591563" cy="1908000"/>
          </a:xfrm>
          <a:noFill/>
        </p:spPr>
        <p:txBody>
          <a:bodyPr tIns="72000">
            <a:noAutofit/>
          </a:bodyPr>
          <a:lstStyle>
            <a:lvl1pPr algn="ctr">
              <a:defRPr b="0">
                <a:solidFill>
                  <a:schemeClr val="tx1"/>
                </a:solidFill>
              </a:defRPr>
            </a:lvl1pPr>
          </a:lstStyle>
          <a:p>
            <a:endParaRPr lang="de-DE" noProof="0" dirty="0"/>
          </a:p>
        </p:txBody>
      </p:sp>
      <p:sp>
        <p:nvSpPr>
          <p:cNvPr id="14" name="Textplatzhalter 8"/>
          <p:cNvSpPr>
            <a:spLocks noGrp="1"/>
          </p:cNvSpPr>
          <p:nvPr>
            <p:ph type="body" sz="quarter" idx="18"/>
          </p:nvPr>
        </p:nvSpPr>
        <p:spPr bwMode="gray">
          <a:xfrm>
            <a:off x="444843" y="3746216"/>
            <a:ext cx="2591325" cy="384721"/>
          </a:xfrm>
        </p:spPr>
        <p:txBody>
          <a:bodyPr anchor="t" anchorCtr="0"/>
          <a:lstStyle>
            <a:lvl1pPr>
              <a:lnSpc>
                <a:spcPts val="1500"/>
              </a:lnSpc>
              <a:spcBef>
                <a:spcPts val="0"/>
              </a:spcBef>
              <a:defRPr sz="1200" b="0">
                <a:solidFill>
                  <a:schemeClr val="tx1"/>
                </a:solidFill>
              </a:defRPr>
            </a:lvl1pPr>
          </a:lstStyle>
          <a:p>
            <a:pPr lvl="0"/>
            <a:r>
              <a:rPr lang="de-DE" noProof="0" dirty="0"/>
              <a:t>Formatvorlagen des Textmasters bearbeiten</a:t>
            </a:r>
          </a:p>
        </p:txBody>
      </p:sp>
      <p:sp>
        <p:nvSpPr>
          <p:cNvPr id="11" name="Bildplatzhalter 8"/>
          <p:cNvSpPr>
            <a:spLocks noGrp="1"/>
          </p:cNvSpPr>
          <p:nvPr>
            <p:ph type="pic" sz="quarter" idx="19"/>
          </p:nvPr>
        </p:nvSpPr>
        <p:spPr bwMode="gray">
          <a:xfrm>
            <a:off x="3348426" y="1665288"/>
            <a:ext cx="2591563" cy="1908000"/>
          </a:xfrm>
          <a:noFill/>
        </p:spPr>
        <p:txBody>
          <a:bodyPr tIns="72000">
            <a:noAutofit/>
          </a:bodyPr>
          <a:lstStyle>
            <a:lvl1pPr algn="ctr">
              <a:defRPr b="0">
                <a:solidFill>
                  <a:schemeClr val="tx1"/>
                </a:solidFill>
              </a:defRPr>
            </a:lvl1pPr>
          </a:lstStyle>
          <a:p>
            <a:endParaRPr lang="de-DE" noProof="0" dirty="0"/>
          </a:p>
        </p:txBody>
      </p:sp>
      <p:sp>
        <p:nvSpPr>
          <p:cNvPr id="12" name="Bildplatzhalter 8"/>
          <p:cNvSpPr>
            <a:spLocks noGrp="1"/>
          </p:cNvSpPr>
          <p:nvPr>
            <p:ph type="pic" sz="quarter" idx="20"/>
          </p:nvPr>
        </p:nvSpPr>
        <p:spPr bwMode="gray">
          <a:xfrm>
            <a:off x="6252009" y="1665288"/>
            <a:ext cx="2591563" cy="1908000"/>
          </a:xfrm>
          <a:noFill/>
        </p:spPr>
        <p:txBody>
          <a:bodyPr tIns="72000">
            <a:noAutofit/>
          </a:bodyPr>
          <a:lstStyle>
            <a:lvl1pPr algn="ctr">
              <a:defRPr b="0">
                <a:solidFill>
                  <a:schemeClr val="tx1"/>
                </a:solidFill>
              </a:defRPr>
            </a:lvl1pPr>
          </a:lstStyle>
          <a:p>
            <a:endParaRPr lang="de-DE" noProof="0" dirty="0"/>
          </a:p>
        </p:txBody>
      </p:sp>
      <p:sp>
        <p:nvSpPr>
          <p:cNvPr id="15" name="Bildplatzhalter 8"/>
          <p:cNvSpPr>
            <a:spLocks noGrp="1"/>
          </p:cNvSpPr>
          <p:nvPr>
            <p:ph type="pic" sz="quarter" idx="21"/>
          </p:nvPr>
        </p:nvSpPr>
        <p:spPr bwMode="gray">
          <a:xfrm>
            <a:off x="9155593" y="1665288"/>
            <a:ext cx="2591563" cy="1908000"/>
          </a:xfrm>
          <a:noFill/>
        </p:spPr>
        <p:txBody>
          <a:bodyPr tIns="72000">
            <a:noAutofit/>
          </a:bodyPr>
          <a:lstStyle>
            <a:lvl1pPr algn="ctr">
              <a:defRPr b="0">
                <a:solidFill>
                  <a:schemeClr val="tx1"/>
                </a:solidFill>
              </a:defRPr>
            </a:lvl1pPr>
          </a:lstStyle>
          <a:p>
            <a:endParaRPr lang="de-DE" noProof="0" dirty="0"/>
          </a:p>
        </p:txBody>
      </p:sp>
      <p:sp>
        <p:nvSpPr>
          <p:cNvPr id="16" name="Textplatzhalter 8"/>
          <p:cNvSpPr>
            <a:spLocks noGrp="1"/>
          </p:cNvSpPr>
          <p:nvPr>
            <p:ph type="body" sz="quarter" idx="22"/>
          </p:nvPr>
        </p:nvSpPr>
        <p:spPr bwMode="gray">
          <a:xfrm>
            <a:off x="3348426" y="3746216"/>
            <a:ext cx="2591325" cy="384721"/>
          </a:xfrm>
        </p:spPr>
        <p:txBody>
          <a:bodyPr anchor="t" anchorCtr="0"/>
          <a:lstStyle>
            <a:lvl1pPr>
              <a:lnSpc>
                <a:spcPts val="1500"/>
              </a:lnSpc>
              <a:spcBef>
                <a:spcPts val="0"/>
              </a:spcBef>
              <a:defRPr sz="1200" b="0">
                <a:solidFill>
                  <a:schemeClr val="tx1"/>
                </a:solidFill>
              </a:defRPr>
            </a:lvl1pPr>
          </a:lstStyle>
          <a:p>
            <a:pPr lvl="0"/>
            <a:r>
              <a:rPr lang="de-DE" noProof="0" dirty="0"/>
              <a:t>Formatvorlagen des Textmasters bearbeiten</a:t>
            </a:r>
          </a:p>
        </p:txBody>
      </p:sp>
      <p:sp>
        <p:nvSpPr>
          <p:cNvPr id="17" name="Textplatzhalter 8"/>
          <p:cNvSpPr>
            <a:spLocks noGrp="1"/>
          </p:cNvSpPr>
          <p:nvPr>
            <p:ph type="body" sz="quarter" idx="23"/>
          </p:nvPr>
        </p:nvSpPr>
        <p:spPr bwMode="gray">
          <a:xfrm>
            <a:off x="6252009" y="3746216"/>
            <a:ext cx="2591325" cy="384721"/>
          </a:xfrm>
        </p:spPr>
        <p:txBody>
          <a:bodyPr anchor="t" anchorCtr="0"/>
          <a:lstStyle>
            <a:lvl1pPr>
              <a:lnSpc>
                <a:spcPts val="1500"/>
              </a:lnSpc>
              <a:spcBef>
                <a:spcPts val="0"/>
              </a:spcBef>
              <a:defRPr sz="1200" b="0">
                <a:solidFill>
                  <a:schemeClr val="tx1"/>
                </a:solidFill>
              </a:defRPr>
            </a:lvl1pPr>
          </a:lstStyle>
          <a:p>
            <a:pPr lvl="0"/>
            <a:r>
              <a:rPr lang="de-DE" noProof="0" dirty="0"/>
              <a:t>Formatvorlagen des Textmasters bearbeiten</a:t>
            </a:r>
          </a:p>
        </p:txBody>
      </p:sp>
      <p:sp>
        <p:nvSpPr>
          <p:cNvPr id="18" name="Textplatzhalter 8"/>
          <p:cNvSpPr>
            <a:spLocks noGrp="1"/>
          </p:cNvSpPr>
          <p:nvPr>
            <p:ph type="body" sz="quarter" idx="24"/>
          </p:nvPr>
        </p:nvSpPr>
        <p:spPr bwMode="gray">
          <a:xfrm>
            <a:off x="9155593" y="3746216"/>
            <a:ext cx="2591325" cy="384721"/>
          </a:xfrm>
        </p:spPr>
        <p:txBody>
          <a:bodyPr anchor="t" anchorCtr="0"/>
          <a:lstStyle>
            <a:lvl1pPr>
              <a:lnSpc>
                <a:spcPts val="1500"/>
              </a:lnSpc>
              <a:spcBef>
                <a:spcPts val="0"/>
              </a:spcBef>
              <a:defRPr sz="1200" b="0">
                <a:solidFill>
                  <a:schemeClr val="tx1"/>
                </a:solidFill>
              </a:defRPr>
            </a:lvl1pPr>
          </a:lstStyle>
          <a:p>
            <a:pPr lvl="0"/>
            <a:r>
              <a:rPr lang="de-DE" noProof="0" dirty="0"/>
              <a:t>Formatvorlagen des Textmasters bearbeiten</a:t>
            </a:r>
          </a:p>
        </p:txBody>
      </p:sp>
      <p:sp>
        <p:nvSpPr>
          <p:cNvPr id="19" name="Textplatzhalter 13"/>
          <p:cNvSpPr>
            <a:spLocks noGrp="1"/>
          </p:cNvSpPr>
          <p:nvPr>
            <p:ph type="body" sz="quarter" idx="16" hasCustomPrompt="1"/>
          </p:nvPr>
        </p:nvSpPr>
        <p:spPr>
          <a:xfrm>
            <a:off x="444843" y="432000"/>
            <a:ext cx="10114504" cy="184666"/>
          </a:xfrm>
        </p:spPr>
        <p:txBody>
          <a:bodyPr/>
          <a:lstStyle>
            <a:lvl1pPr>
              <a:lnSpc>
                <a:spcPct val="100000"/>
              </a:lnSpc>
              <a:spcBef>
                <a:spcPts val="0"/>
              </a:spcBef>
              <a:defRPr sz="1200" b="1" u="sng" cap="all" spc="190" baseline="0">
                <a:solidFill>
                  <a:schemeClr val="tx1"/>
                </a:solidFill>
                <a:uFill>
                  <a:solidFill>
                    <a:schemeClr val="accent2"/>
                  </a:solidFill>
                </a:uFill>
              </a:defRPr>
            </a:lvl1pPr>
          </a:lstStyle>
          <a:p>
            <a:pPr lvl="0"/>
            <a:r>
              <a:rPr lang="de-DE" dirty="0"/>
              <a:t>headline</a:t>
            </a:r>
          </a:p>
        </p:txBody>
      </p:sp>
    </p:spTree>
    <p:extLst>
      <p:ext uri="{BB962C8B-B14F-4D97-AF65-F5344CB8AC3E}">
        <p14:creationId xmlns:p14="http://schemas.microsoft.com/office/powerpoint/2010/main" val="23062591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21045088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1" name="think-cell Folie" r:id="rId4" imgW="276" imgH="275" progId="TCLayout.ActiveDocument.1">
                  <p:embed/>
                </p:oleObj>
              </mc:Choice>
              <mc:Fallback>
                <p:oleObj name="think-cell Folie" r:id="rId4" imgW="276" imgH="275" progId="TCLayout.ActiveDocument.1">
                  <p:embed/>
                  <p:pic>
                    <p:nvPicPr>
                      <p:cNvPr id="6" name="Objek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bwMode="gray">
          <a:xfrm>
            <a:off x="446284" y="712800"/>
            <a:ext cx="10113366" cy="743793"/>
          </a:xfrm>
        </p:spPr>
        <p:txBody>
          <a:bodyPr/>
          <a:lstStyle/>
          <a:p>
            <a:r>
              <a:rPr lang="de-DE" noProof="0" dirty="0"/>
              <a:t>Titelmasterformat durch Klicken bearbeiten</a:t>
            </a:r>
          </a:p>
        </p:txBody>
      </p:sp>
      <p:sp>
        <p:nvSpPr>
          <p:cNvPr id="3" name="Datumsplatzhalter 2"/>
          <p:cNvSpPr>
            <a:spLocks noGrp="1"/>
          </p:cNvSpPr>
          <p:nvPr>
            <p:ph type="dt" sz="half" idx="10"/>
          </p:nvPr>
        </p:nvSpPr>
        <p:spPr bwMode="gray"/>
        <p:txBody>
          <a:bodyPr/>
          <a:lstStyle/>
          <a:p>
            <a:fld id="{4D72CD49-7F43-47BB-982C-403E393FBCB0}" type="datetime1">
              <a:rPr lang="de-DE" noProof="0" smtClean="0"/>
              <a:t>08.01.2022</a:t>
            </a:fld>
            <a:endParaRPr lang="de-DE" noProof="0" dirty="0"/>
          </a:p>
        </p:txBody>
      </p:sp>
      <p:sp>
        <p:nvSpPr>
          <p:cNvPr id="4" name="Fußzeilenplatzhalter 3"/>
          <p:cNvSpPr>
            <a:spLocks noGrp="1"/>
          </p:cNvSpPr>
          <p:nvPr>
            <p:ph type="ftr" sz="quarter" idx="11"/>
          </p:nvPr>
        </p:nvSpPr>
        <p:spPr bwMode="gray"/>
        <p:txBody>
          <a:bodyPr/>
          <a:lstStyle/>
          <a:p>
            <a:r>
              <a:rPr lang="de-DE" noProof="0" dirty="0"/>
              <a:t>/  Styleguide, Musterfolien für Präsentationen</a:t>
            </a:r>
          </a:p>
        </p:txBody>
      </p:sp>
      <p:sp>
        <p:nvSpPr>
          <p:cNvPr id="5" name="Foliennummernplatzhalter 4"/>
          <p:cNvSpPr>
            <a:spLocks noGrp="1"/>
          </p:cNvSpPr>
          <p:nvPr>
            <p:ph type="sldNum" sz="quarter" idx="12"/>
          </p:nvPr>
        </p:nvSpPr>
        <p:spPr bwMode="gray"/>
        <p:txBody>
          <a:bodyPr/>
          <a:lstStyle/>
          <a:p>
            <a:r>
              <a:rPr lang="de-DE" noProof="0" dirty="0"/>
              <a:t>Seite </a:t>
            </a:r>
            <a:fld id="{105F6080-11B6-4F5B-BFCF-ADAD48E4948B}" type="slidenum">
              <a:rPr lang="de-DE" noProof="0" smtClean="0"/>
              <a:pPr/>
              <a:t>‹Nr.›</a:t>
            </a:fld>
            <a:endParaRPr lang="de-DE" noProof="0" dirty="0"/>
          </a:p>
        </p:txBody>
      </p:sp>
      <p:sp>
        <p:nvSpPr>
          <p:cNvPr id="7" name="Textplatzhalter 13"/>
          <p:cNvSpPr>
            <a:spLocks noGrp="1"/>
          </p:cNvSpPr>
          <p:nvPr>
            <p:ph type="body" sz="quarter" idx="16" hasCustomPrompt="1"/>
          </p:nvPr>
        </p:nvSpPr>
        <p:spPr>
          <a:xfrm>
            <a:off x="444843" y="432000"/>
            <a:ext cx="10114504" cy="184666"/>
          </a:xfrm>
        </p:spPr>
        <p:txBody>
          <a:bodyPr/>
          <a:lstStyle>
            <a:lvl1pPr>
              <a:lnSpc>
                <a:spcPct val="100000"/>
              </a:lnSpc>
              <a:spcBef>
                <a:spcPts val="0"/>
              </a:spcBef>
              <a:defRPr sz="1200" b="1" u="sng" cap="all" spc="190" baseline="0">
                <a:solidFill>
                  <a:schemeClr val="tx1"/>
                </a:solidFill>
                <a:uFill>
                  <a:solidFill>
                    <a:schemeClr val="accent2"/>
                  </a:solidFill>
                </a:uFill>
              </a:defRPr>
            </a:lvl1pPr>
          </a:lstStyle>
          <a:p>
            <a:pPr lvl="0"/>
            <a:r>
              <a:rPr lang="de-DE" dirty="0"/>
              <a:t>headline</a:t>
            </a:r>
          </a:p>
        </p:txBody>
      </p:sp>
    </p:spTree>
    <p:extLst>
      <p:ext uri="{BB962C8B-B14F-4D97-AF65-F5344CB8AC3E}">
        <p14:creationId xmlns:p14="http://schemas.microsoft.com/office/powerpoint/2010/main" val="23196938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ontaktfoli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446284" y="712800"/>
            <a:ext cx="10113366" cy="743793"/>
          </a:xfrm>
        </p:spPr>
        <p:txBody>
          <a:bodyPr/>
          <a:lstStyle/>
          <a:p>
            <a:r>
              <a:rPr lang="de-DE" noProof="0" dirty="0"/>
              <a:t>Titelmasterformat durch Klicken bearbeiten</a:t>
            </a:r>
          </a:p>
        </p:txBody>
      </p:sp>
      <p:sp>
        <p:nvSpPr>
          <p:cNvPr id="3" name="Datumsplatzhalter 2"/>
          <p:cNvSpPr>
            <a:spLocks noGrp="1"/>
          </p:cNvSpPr>
          <p:nvPr>
            <p:ph type="dt" sz="half" idx="10"/>
          </p:nvPr>
        </p:nvSpPr>
        <p:spPr bwMode="gray"/>
        <p:txBody>
          <a:bodyPr/>
          <a:lstStyle/>
          <a:p>
            <a:fld id="{45AD2FA3-BFB8-49D6-B1A8-30B06315D90A}" type="datetime1">
              <a:rPr lang="de-DE" noProof="0" smtClean="0"/>
              <a:t>08.01.2022</a:t>
            </a:fld>
            <a:endParaRPr lang="de-DE" noProof="0" dirty="0"/>
          </a:p>
        </p:txBody>
      </p:sp>
      <p:sp>
        <p:nvSpPr>
          <p:cNvPr id="4" name="Fußzeilenplatzhalter 3"/>
          <p:cNvSpPr>
            <a:spLocks noGrp="1"/>
          </p:cNvSpPr>
          <p:nvPr>
            <p:ph type="ftr" sz="quarter" idx="11"/>
          </p:nvPr>
        </p:nvSpPr>
        <p:spPr bwMode="gray"/>
        <p:txBody>
          <a:bodyPr/>
          <a:lstStyle/>
          <a:p>
            <a:r>
              <a:rPr lang="de-DE" noProof="0" dirty="0"/>
              <a:t>/  Styleguide, Musterfolien für Präsentationen</a:t>
            </a:r>
          </a:p>
        </p:txBody>
      </p:sp>
      <p:sp>
        <p:nvSpPr>
          <p:cNvPr id="5" name="Foliennummernplatzhalter 4"/>
          <p:cNvSpPr>
            <a:spLocks noGrp="1"/>
          </p:cNvSpPr>
          <p:nvPr>
            <p:ph type="sldNum" sz="quarter" idx="12"/>
          </p:nvPr>
        </p:nvSpPr>
        <p:spPr bwMode="gray"/>
        <p:txBody>
          <a:bodyPr/>
          <a:lstStyle/>
          <a:p>
            <a:r>
              <a:rPr lang="de-DE" noProof="0" dirty="0"/>
              <a:t>Seite </a:t>
            </a:r>
            <a:fld id="{105F6080-11B6-4F5B-BFCF-ADAD48E4948B}" type="slidenum">
              <a:rPr lang="de-DE" noProof="0" smtClean="0"/>
              <a:pPr/>
              <a:t>‹Nr.›</a:t>
            </a:fld>
            <a:endParaRPr lang="de-DE" noProof="0" dirty="0"/>
          </a:p>
        </p:txBody>
      </p:sp>
      <p:sp>
        <p:nvSpPr>
          <p:cNvPr id="7" name="Textplatzhalter 7"/>
          <p:cNvSpPr>
            <a:spLocks noGrp="1"/>
          </p:cNvSpPr>
          <p:nvPr>
            <p:ph type="body" sz="quarter" idx="13"/>
          </p:nvPr>
        </p:nvSpPr>
        <p:spPr bwMode="gray">
          <a:xfrm>
            <a:off x="446284" y="1616607"/>
            <a:ext cx="11299616" cy="246221"/>
          </a:xfrm>
        </p:spPr>
        <p:txBody>
          <a:bodyPr/>
          <a:lstStyle>
            <a:lvl1pPr>
              <a:lnSpc>
                <a:spcPct val="100000"/>
              </a:lnSpc>
              <a:spcBef>
                <a:spcPts val="0"/>
              </a:spcBef>
              <a:defRPr/>
            </a:lvl1pPr>
            <a:lvl4pPr>
              <a:defRPr/>
            </a:lvl4pPr>
          </a:lstStyle>
          <a:p>
            <a:pPr lvl="0"/>
            <a:r>
              <a:rPr lang="de-DE" noProof="0" dirty="0"/>
              <a:t>Formatvorlagen des Textmasters bearbeiten</a:t>
            </a:r>
          </a:p>
        </p:txBody>
      </p:sp>
      <p:sp>
        <p:nvSpPr>
          <p:cNvPr id="8" name="Textplatzhalter 9"/>
          <p:cNvSpPr>
            <a:spLocks noGrp="1"/>
          </p:cNvSpPr>
          <p:nvPr>
            <p:ph type="body" sz="quarter" idx="14"/>
          </p:nvPr>
        </p:nvSpPr>
        <p:spPr bwMode="gray">
          <a:xfrm>
            <a:off x="444843" y="1955217"/>
            <a:ext cx="11301057" cy="246221"/>
          </a:xfrm>
        </p:spPr>
        <p:txBody>
          <a:bodyPr/>
          <a:lstStyle>
            <a:lvl1pPr marL="0" indent="0">
              <a:lnSpc>
                <a:spcPct val="100000"/>
              </a:lnSpc>
              <a:spcBef>
                <a:spcPts val="0"/>
              </a:spcBef>
              <a:buFont typeface="+mj-lt"/>
              <a:buNone/>
              <a:defRPr sz="1600" b="0">
                <a:solidFill>
                  <a:schemeClr val="tx1"/>
                </a:solidFill>
              </a:defRPr>
            </a:lvl1pPr>
            <a:lvl2pPr>
              <a:lnSpc>
                <a:spcPts val="1600"/>
              </a:lnSpc>
              <a:spcBef>
                <a:spcPts val="100"/>
              </a:spcBef>
              <a:defRPr sz="1200" b="0">
                <a:solidFill>
                  <a:schemeClr val="tx1"/>
                </a:solidFill>
              </a:defRPr>
            </a:lvl2pPr>
            <a:lvl3pPr marL="0" indent="0">
              <a:lnSpc>
                <a:spcPts val="1600"/>
              </a:lnSpc>
              <a:buNone/>
              <a:defRPr sz="1200"/>
            </a:lvl3pPr>
          </a:lstStyle>
          <a:p>
            <a:pPr lvl="0"/>
            <a:r>
              <a:rPr lang="de-DE" noProof="0" dirty="0"/>
              <a:t>Formatvorlagen des Textmasters bearbeiten</a:t>
            </a:r>
          </a:p>
        </p:txBody>
      </p:sp>
      <p:sp>
        <p:nvSpPr>
          <p:cNvPr id="9" name="Textplatzhalter 9"/>
          <p:cNvSpPr>
            <a:spLocks noGrp="1"/>
          </p:cNvSpPr>
          <p:nvPr>
            <p:ph type="body" sz="quarter" idx="15"/>
          </p:nvPr>
        </p:nvSpPr>
        <p:spPr bwMode="gray">
          <a:xfrm>
            <a:off x="444843" y="2306140"/>
            <a:ext cx="11301057" cy="246221"/>
          </a:xfrm>
        </p:spPr>
        <p:txBody>
          <a:bodyPr/>
          <a:lstStyle>
            <a:lvl1pPr marL="0" indent="0">
              <a:lnSpc>
                <a:spcPct val="100000"/>
              </a:lnSpc>
              <a:spcBef>
                <a:spcPts val="0"/>
              </a:spcBef>
              <a:buFont typeface="+mj-lt"/>
              <a:buNone/>
              <a:defRPr sz="1600" b="0">
                <a:solidFill>
                  <a:schemeClr val="tx1"/>
                </a:solidFill>
              </a:defRPr>
            </a:lvl1pPr>
            <a:lvl2pPr>
              <a:lnSpc>
                <a:spcPts val="1600"/>
              </a:lnSpc>
              <a:spcBef>
                <a:spcPts val="100"/>
              </a:spcBef>
              <a:defRPr sz="1200" b="0">
                <a:solidFill>
                  <a:schemeClr val="tx1"/>
                </a:solidFill>
              </a:defRPr>
            </a:lvl2pPr>
            <a:lvl3pPr marL="0" indent="0">
              <a:lnSpc>
                <a:spcPts val="1600"/>
              </a:lnSpc>
              <a:buNone/>
              <a:defRPr sz="1200"/>
            </a:lvl3pPr>
          </a:lstStyle>
          <a:p>
            <a:pPr lvl="0"/>
            <a:r>
              <a:rPr lang="de-DE" noProof="0" dirty="0"/>
              <a:t>Formatvorlagen des Textmasters bearbeiten</a:t>
            </a:r>
          </a:p>
        </p:txBody>
      </p:sp>
      <p:sp>
        <p:nvSpPr>
          <p:cNvPr id="10" name="Textplatzhalter 9"/>
          <p:cNvSpPr>
            <a:spLocks noGrp="1"/>
          </p:cNvSpPr>
          <p:nvPr>
            <p:ph type="body" sz="quarter" idx="16"/>
          </p:nvPr>
        </p:nvSpPr>
        <p:spPr bwMode="gray">
          <a:xfrm>
            <a:off x="444843" y="2560142"/>
            <a:ext cx="11301057" cy="246221"/>
          </a:xfrm>
        </p:spPr>
        <p:txBody>
          <a:bodyPr/>
          <a:lstStyle>
            <a:lvl1pPr marL="0" indent="0">
              <a:lnSpc>
                <a:spcPct val="100000"/>
              </a:lnSpc>
              <a:spcBef>
                <a:spcPts val="0"/>
              </a:spcBef>
              <a:buFont typeface="+mj-lt"/>
              <a:buNone/>
              <a:defRPr sz="1600" b="0">
                <a:solidFill>
                  <a:schemeClr val="tx1"/>
                </a:solidFill>
              </a:defRPr>
            </a:lvl1pPr>
            <a:lvl2pPr>
              <a:lnSpc>
                <a:spcPts val="1600"/>
              </a:lnSpc>
              <a:spcBef>
                <a:spcPts val="100"/>
              </a:spcBef>
              <a:defRPr sz="1200" b="0">
                <a:solidFill>
                  <a:schemeClr val="tx1"/>
                </a:solidFill>
              </a:defRPr>
            </a:lvl2pPr>
            <a:lvl3pPr marL="0" indent="0">
              <a:lnSpc>
                <a:spcPts val="1600"/>
              </a:lnSpc>
              <a:buNone/>
              <a:defRPr sz="1200"/>
            </a:lvl3pPr>
          </a:lstStyle>
          <a:p>
            <a:pPr lvl="0"/>
            <a:r>
              <a:rPr lang="de-DE" noProof="0" dirty="0"/>
              <a:t>Formatvorlagen des Textmasters bearbeiten</a:t>
            </a:r>
          </a:p>
        </p:txBody>
      </p:sp>
      <p:sp>
        <p:nvSpPr>
          <p:cNvPr id="11" name="Textplatzhalter 9"/>
          <p:cNvSpPr>
            <a:spLocks noGrp="1"/>
          </p:cNvSpPr>
          <p:nvPr>
            <p:ph type="body" sz="quarter" idx="17"/>
          </p:nvPr>
        </p:nvSpPr>
        <p:spPr bwMode="gray">
          <a:xfrm>
            <a:off x="444843" y="2915134"/>
            <a:ext cx="11301057" cy="246221"/>
          </a:xfrm>
        </p:spPr>
        <p:txBody>
          <a:bodyPr/>
          <a:lstStyle>
            <a:lvl1pPr marL="360363" indent="-360363">
              <a:lnSpc>
                <a:spcPct val="100000"/>
              </a:lnSpc>
              <a:spcBef>
                <a:spcPts val="0"/>
              </a:spcBef>
              <a:buFont typeface="+mj-lt"/>
              <a:buNone/>
              <a:defRPr sz="1600" b="0">
                <a:solidFill>
                  <a:schemeClr val="tx1"/>
                </a:solidFill>
              </a:defRPr>
            </a:lvl1pPr>
            <a:lvl2pPr>
              <a:lnSpc>
                <a:spcPts val="1600"/>
              </a:lnSpc>
              <a:spcBef>
                <a:spcPts val="100"/>
              </a:spcBef>
              <a:defRPr sz="1200" b="0">
                <a:solidFill>
                  <a:schemeClr val="tx1"/>
                </a:solidFill>
              </a:defRPr>
            </a:lvl2pPr>
            <a:lvl3pPr marL="0" indent="0">
              <a:lnSpc>
                <a:spcPts val="1600"/>
              </a:lnSpc>
              <a:buNone/>
              <a:defRPr sz="1200"/>
            </a:lvl3pPr>
          </a:lstStyle>
          <a:p>
            <a:pPr lvl="0"/>
            <a:r>
              <a:rPr lang="de-DE" noProof="0" dirty="0"/>
              <a:t>Formatvorlagen des Textmasters bearbeiten</a:t>
            </a:r>
          </a:p>
        </p:txBody>
      </p:sp>
      <p:sp>
        <p:nvSpPr>
          <p:cNvPr id="12" name="Textplatzhalter 9"/>
          <p:cNvSpPr>
            <a:spLocks noGrp="1"/>
          </p:cNvSpPr>
          <p:nvPr>
            <p:ph type="body" sz="quarter" idx="18"/>
          </p:nvPr>
        </p:nvSpPr>
        <p:spPr bwMode="gray">
          <a:xfrm>
            <a:off x="444843" y="3169133"/>
            <a:ext cx="11301057" cy="246221"/>
          </a:xfrm>
        </p:spPr>
        <p:txBody>
          <a:bodyPr/>
          <a:lstStyle>
            <a:lvl1pPr marL="360363" indent="-360363">
              <a:lnSpc>
                <a:spcPct val="100000"/>
              </a:lnSpc>
              <a:spcBef>
                <a:spcPts val="0"/>
              </a:spcBef>
              <a:buFont typeface="+mj-lt"/>
              <a:buNone/>
              <a:defRPr sz="1600" b="0">
                <a:solidFill>
                  <a:schemeClr val="tx1"/>
                </a:solidFill>
              </a:defRPr>
            </a:lvl1pPr>
            <a:lvl2pPr>
              <a:lnSpc>
                <a:spcPts val="1600"/>
              </a:lnSpc>
              <a:spcBef>
                <a:spcPts val="100"/>
              </a:spcBef>
              <a:defRPr sz="1200" b="0">
                <a:solidFill>
                  <a:schemeClr val="tx1"/>
                </a:solidFill>
              </a:defRPr>
            </a:lvl2pPr>
            <a:lvl3pPr marL="0" indent="0">
              <a:lnSpc>
                <a:spcPts val="1600"/>
              </a:lnSpc>
              <a:buNone/>
              <a:defRPr sz="1200"/>
            </a:lvl3pPr>
          </a:lstStyle>
          <a:p>
            <a:pPr lvl="0"/>
            <a:r>
              <a:rPr lang="de-DE" noProof="0" dirty="0"/>
              <a:t>Formatvorlagen des Textmasters bearbeiten</a:t>
            </a:r>
          </a:p>
        </p:txBody>
      </p:sp>
    </p:spTree>
    <p:extLst>
      <p:ext uri="{BB962C8B-B14F-4D97-AF65-F5344CB8AC3E}">
        <p14:creationId xmlns:p14="http://schemas.microsoft.com/office/powerpoint/2010/main" val="23117985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bschlußfolie">
    <p:spTree>
      <p:nvGrpSpPr>
        <p:cNvPr id="1" name=""/>
        <p:cNvGrpSpPr/>
        <p:nvPr/>
      </p:nvGrpSpPr>
      <p:grpSpPr>
        <a:xfrm>
          <a:off x="0" y="0"/>
          <a:ext cx="0" cy="0"/>
          <a:chOff x="0" y="0"/>
          <a:chExt cx="0" cy="0"/>
        </a:xfrm>
      </p:grpSpPr>
      <p:sp>
        <p:nvSpPr>
          <p:cNvPr id="2" name="Titel 1"/>
          <p:cNvSpPr>
            <a:spLocks noGrp="1"/>
          </p:cNvSpPr>
          <p:nvPr>
            <p:ph type="ctrTitle"/>
          </p:nvPr>
        </p:nvSpPr>
        <p:spPr bwMode="gray">
          <a:xfrm>
            <a:off x="444843" y="3756944"/>
            <a:ext cx="11301057" cy="1025922"/>
          </a:xfrm>
        </p:spPr>
        <p:txBody>
          <a:bodyPr anchor="b" anchorCtr="0"/>
          <a:lstStyle>
            <a:lvl1pPr>
              <a:lnSpc>
                <a:spcPts val="4000"/>
              </a:lnSpc>
              <a:defRPr sz="3699" baseline="0"/>
            </a:lvl1pPr>
          </a:lstStyle>
          <a:p>
            <a:r>
              <a:rPr lang="de-DE" noProof="0" dirty="0"/>
              <a:t>Titelmasterformat durch Klicken bearbeiten</a:t>
            </a:r>
          </a:p>
        </p:txBody>
      </p:sp>
      <p:sp>
        <p:nvSpPr>
          <p:cNvPr id="3" name="Untertitel 2"/>
          <p:cNvSpPr>
            <a:spLocks noGrp="1"/>
          </p:cNvSpPr>
          <p:nvPr>
            <p:ph type="subTitle" idx="1"/>
          </p:nvPr>
        </p:nvSpPr>
        <p:spPr bwMode="gray">
          <a:xfrm>
            <a:off x="444843" y="4981934"/>
            <a:ext cx="11301057" cy="256480"/>
          </a:xfrm>
        </p:spPr>
        <p:txBody>
          <a:bodyPr>
            <a:spAutoFit/>
          </a:bodyPr>
          <a:lstStyle>
            <a:lvl1pPr marL="0" indent="0" algn="l">
              <a:spcBef>
                <a:spcPts val="0"/>
              </a:spcBef>
              <a:buNone/>
              <a:defRPr b="1" i="0" cap="all" spc="230" baseline="0">
                <a:solidFill>
                  <a:schemeClr val="tx1"/>
                </a:solidFil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de-DE" noProof="0" dirty="0"/>
              <a:t>Formatvorlage des Untertitelmasters durch Klicken bearbeiten</a:t>
            </a:r>
          </a:p>
        </p:txBody>
      </p:sp>
      <p:pic>
        <p:nvPicPr>
          <p:cNvPr id="4" name="Grafik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5466164" y="563254"/>
            <a:ext cx="1259672" cy="1370141"/>
          </a:xfrm>
          <a:prstGeom prst="rect">
            <a:avLst/>
          </a:prstGeom>
        </p:spPr>
      </p:pic>
      <p:grpSp>
        <p:nvGrpSpPr>
          <p:cNvPr id="18" name="Gruppieren 17"/>
          <p:cNvGrpSpPr/>
          <p:nvPr userDrawn="1"/>
        </p:nvGrpSpPr>
        <p:grpSpPr bwMode="gray">
          <a:xfrm>
            <a:off x="449295" y="-153684"/>
            <a:ext cx="11297861" cy="108000"/>
            <a:chOff x="449412" y="0"/>
            <a:chExt cx="11300803" cy="108000"/>
          </a:xfrm>
        </p:grpSpPr>
        <p:sp>
          <p:nvSpPr>
            <p:cNvPr id="20" name="Freihandform: Form 19"/>
            <p:cNvSpPr/>
            <p:nvPr userDrawn="1"/>
          </p:nvSpPr>
          <p:spPr bwMode="gray">
            <a:xfrm>
              <a:off x="449412"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21" name="Freihandform: Form 20"/>
            <p:cNvSpPr/>
            <p:nvPr userDrawn="1"/>
          </p:nvSpPr>
          <p:spPr bwMode="gray">
            <a:xfrm>
              <a:off x="5950099"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22" name="Freihandform: Form 21"/>
            <p:cNvSpPr/>
            <p:nvPr userDrawn="1"/>
          </p:nvSpPr>
          <p:spPr bwMode="gray">
            <a:xfrm>
              <a:off x="6242050"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23" name="Freihandform: Form 22"/>
            <p:cNvSpPr/>
            <p:nvPr userDrawn="1"/>
          </p:nvSpPr>
          <p:spPr bwMode="gray">
            <a:xfrm>
              <a:off x="11750215"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grpSp>
      <p:grpSp>
        <p:nvGrpSpPr>
          <p:cNvPr id="24" name="Gruppieren 23"/>
          <p:cNvGrpSpPr/>
          <p:nvPr userDrawn="1"/>
        </p:nvGrpSpPr>
        <p:grpSpPr bwMode="gray">
          <a:xfrm>
            <a:off x="449295" y="6903684"/>
            <a:ext cx="11297861" cy="108000"/>
            <a:chOff x="449412" y="0"/>
            <a:chExt cx="11300803" cy="108000"/>
          </a:xfrm>
        </p:grpSpPr>
        <p:sp>
          <p:nvSpPr>
            <p:cNvPr id="26" name="Freihandform: Form 25"/>
            <p:cNvSpPr/>
            <p:nvPr userDrawn="1"/>
          </p:nvSpPr>
          <p:spPr bwMode="gray">
            <a:xfrm>
              <a:off x="449412"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27" name="Freihandform: Form 26"/>
            <p:cNvSpPr/>
            <p:nvPr userDrawn="1"/>
          </p:nvSpPr>
          <p:spPr bwMode="gray">
            <a:xfrm>
              <a:off x="5950099"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28" name="Freihandform: Form 27"/>
            <p:cNvSpPr/>
            <p:nvPr userDrawn="1"/>
          </p:nvSpPr>
          <p:spPr bwMode="gray">
            <a:xfrm>
              <a:off x="6242050"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29" name="Freihandform: Form 28"/>
            <p:cNvSpPr/>
            <p:nvPr userDrawn="1"/>
          </p:nvSpPr>
          <p:spPr bwMode="gray">
            <a:xfrm>
              <a:off x="11750215"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grpSp>
      <p:grpSp>
        <p:nvGrpSpPr>
          <p:cNvPr id="30" name="Gruppieren 29"/>
          <p:cNvGrpSpPr/>
          <p:nvPr userDrawn="1"/>
        </p:nvGrpSpPr>
        <p:grpSpPr>
          <a:xfrm>
            <a:off x="-149354" y="1664804"/>
            <a:ext cx="107973" cy="4500500"/>
            <a:chOff x="-149393" y="1664804"/>
            <a:chExt cx="108001" cy="4500500"/>
          </a:xfrm>
        </p:grpSpPr>
        <p:sp>
          <p:nvSpPr>
            <p:cNvPr id="31" name="Freihandform: Form 30"/>
            <p:cNvSpPr/>
            <p:nvPr userDrawn="1"/>
          </p:nvSpPr>
          <p:spPr>
            <a:xfrm rot="16200000">
              <a:off x="-95392" y="6111304"/>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32" name="Freihandform: Form 31"/>
            <p:cNvSpPr/>
            <p:nvPr userDrawn="1"/>
          </p:nvSpPr>
          <p:spPr>
            <a:xfrm rot="16200000">
              <a:off x="-95393" y="1610804"/>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grpSp>
      <p:grpSp>
        <p:nvGrpSpPr>
          <p:cNvPr id="33" name="Gruppieren 32"/>
          <p:cNvGrpSpPr/>
          <p:nvPr userDrawn="1"/>
        </p:nvGrpSpPr>
        <p:grpSpPr bwMode="gray">
          <a:xfrm>
            <a:off x="12233381" y="1664804"/>
            <a:ext cx="107973" cy="4500500"/>
            <a:chOff x="-149393" y="1664804"/>
            <a:chExt cx="108001" cy="4500500"/>
          </a:xfrm>
        </p:grpSpPr>
        <p:sp>
          <p:nvSpPr>
            <p:cNvPr id="34" name="Freihandform: Form 33"/>
            <p:cNvSpPr/>
            <p:nvPr userDrawn="1"/>
          </p:nvSpPr>
          <p:spPr bwMode="gray">
            <a:xfrm rot="16200000">
              <a:off x="-95392" y="6111304"/>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35" name="Freihandform: Form 34"/>
            <p:cNvSpPr/>
            <p:nvPr userDrawn="1"/>
          </p:nvSpPr>
          <p:spPr bwMode="gray">
            <a:xfrm rot="16200000">
              <a:off x="-95393" y="1610804"/>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grpSp>
      <p:sp>
        <p:nvSpPr>
          <p:cNvPr id="54" name="Freihandform: Form 53"/>
          <p:cNvSpPr/>
          <p:nvPr userDrawn="1"/>
        </p:nvSpPr>
        <p:spPr bwMode="gray">
          <a:xfrm>
            <a:off x="2230292" y="0"/>
            <a:ext cx="7719990" cy="3196710"/>
          </a:xfrm>
          <a:custGeom>
            <a:avLst/>
            <a:gdLst>
              <a:gd name="connsiteX0" fmla="*/ 2501972 w 7722000"/>
              <a:gd name="connsiteY0" fmla="*/ 2484000 h 3196710"/>
              <a:gd name="connsiteX1" fmla="*/ 2519416 w 7722000"/>
              <a:gd name="connsiteY1" fmla="*/ 2507328 h 3196710"/>
              <a:gd name="connsiteX2" fmla="*/ 3866714 w 7722000"/>
              <a:gd name="connsiteY2" fmla="*/ 3142710 h 3196710"/>
              <a:gd name="connsiteX3" fmla="*/ 5214013 w 7722000"/>
              <a:gd name="connsiteY3" fmla="*/ 2507328 h 3196710"/>
              <a:gd name="connsiteX4" fmla="*/ 5231457 w 7722000"/>
              <a:gd name="connsiteY4" fmla="*/ 2484000 h 3196710"/>
              <a:gd name="connsiteX5" fmla="*/ 2055661 w 7722000"/>
              <a:gd name="connsiteY5" fmla="*/ 0 h 3196710"/>
              <a:gd name="connsiteX6" fmla="*/ 2109661 w 7722000"/>
              <a:gd name="connsiteY6" fmla="*/ 0 h 3196710"/>
              <a:gd name="connsiteX7" fmla="*/ 2109661 w 7722000"/>
              <a:gd name="connsiteY7" fmla="*/ 252000 h 3196710"/>
              <a:gd name="connsiteX8" fmla="*/ 5601661 w 7722000"/>
              <a:gd name="connsiteY8" fmla="*/ 252000 h 3196710"/>
              <a:gd name="connsiteX9" fmla="*/ 5601661 w 7722000"/>
              <a:gd name="connsiteY9" fmla="*/ 0 h 3196710"/>
              <a:gd name="connsiteX10" fmla="*/ 5655661 w 7722000"/>
              <a:gd name="connsiteY10" fmla="*/ 0 h 3196710"/>
              <a:gd name="connsiteX11" fmla="*/ 5655661 w 7722000"/>
              <a:gd name="connsiteY11" fmla="*/ 306000 h 3196710"/>
              <a:gd name="connsiteX12" fmla="*/ 2055661 w 7722000"/>
              <a:gd name="connsiteY12" fmla="*/ 306000 h 3196710"/>
              <a:gd name="connsiteX13" fmla="*/ 0 w 7722000"/>
              <a:gd name="connsiteY13" fmla="*/ 0 h 3196710"/>
              <a:gd name="connsiteX14" fmla="*/ 54000 w 7722000"/>
              <a:gd name="connsiteY14" fmla="*/ 0 h 3196710"/>
              <a:gd name="connsiteX15" fmla="*/ 54000 w 7722000"/>
              <a:gd name="connsiteY15" fmla="*/ 2430000 h 3196710"/>
              <a:gd name="connsiteX16" fmla="*/ 7668000 w 7722000"/>
              <a:gd name="connsiteY16" fmla="*/ 2430000 h 3196710"/>
              <a:gd name="connsiteX17" fmla="*/ 7668000 w 7722000"/>
              <a:gd name="connsiteY17" fmla="*/ 0 h 3196710"/>
              <a:gd name="connsiteX18" fmla="*/ 7722000 w 7722000"/>
              <a:gd name="connsiteY18" fmla="*/ 0 h 3196710"/>
              <a:gd name="connsiteX19" fmla="*/ 7722000 w 7722000"/>
              <a:gd name="connsiteY19" fmla="*/ 2484000 h 3196710"/>
              <a:gd name="connsiteX20" fmla="*/ 5298813 w 7722000"/>
              <a:gd name="connsiteY20" fmla="*/ 2484000 h 3196710"/>
              <a:gd name="connsiteX21" fmla="*/ 5255682 w 7722000"/>
              <a:gd name="connsiteY21" fmla="*/ 2541677 h 3196710"/>
              <a:gd name="connsiteX22" fmla="*/ 3866714 w 7722000"/>
              <a:gd name="connsiteY22" fmla="*/ 3196710 h 3196710"/>
              <a:gd name="connsiteX23" fmla="*/ 2477747 w 7722000"/>
              <a:gd name="connsiteY23" fmla="*/ 2541677 h 3196710"/>
              <a:gd name="connsiteX24" fmla="*/ 2434617 w 7722000"/>
              <a:gd name="connsiteY24" fmla="*/ 2484000 h 3196710"/>
              <a:gd name="connsiteX25" fmla="*/ 0 w 7722000"/>
              <a:gd name="connsiteY25" fmla="*/ 2484000 h 3196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722000" h="3196710">
                <a:moveTo>
                  <a:pt x="2501972" y="2484000"/>
                </a:moveTo>
                <a:lnTo>
                  <a:pt x="2519416" y="2507328"/>
                </a:lnTo>
                <a:cubicBezTo>
                  <a:pt x="2839658" y="2895372"/>
                  <a:pt x="3324302" y="3142710"/>
                  <a:pt x="3866714" y="3142710"/>
                </a:cubicBezTo>
                <a:cubicBezTo>
                  <a:pt x="4409127" y="3142710"/>
                  <a:pt x="4893771" y="2895372"/>
                  <a:pt x="5214013" y="2507328"/>
                </a:cubicBezTo>
                <a:lnTo>
                  <a:pt x="5231457" y="2484000"/>
                </a:lnTo>
                <a:close/>
                <a:moveTo>
                  <a:pt x="2055661" y="0"/>
                </a:moveTo>
                <a:lnTo>
                  <a:pt x="2109661" y="0"/>
                </a:lnTo>
                <a:lnTo>
                  <a:pt x="2109661" y="252000"/>
                </a:lnTo>
                <a:lnTo>
                  <a:pt x="5601661" y="252000"/>
                </a:lnTo>
                <a:lnTo>
                  <a:pt x="5601661" y="0"/>
                </a:lnTo>
                <a:lnTo>
                  <a:pt x="5655661" y="0"/>
                </a:lnTo>
                <a:lnTo>
                  <a:pt x="5655661" y="306000"/>
                </a:lnTo>
                <a:lnTo>
                  <a:pt x="2055661" y="306000"/>
                </a:lnTo>
                <a:close/>
                <a:moveTo>
                  <a:pt x="0" y="0"/>
                </a:moveTo>
                <a:lnTo>
                  <a:pt x="54000" y="0"/>
                </a:lnTo>
                <a:lnTo>
                  <a:pt x="54000" y="2430000"/>
                </a:lnTo>
                <a:lnTo>
                  <a:pt x="7668000" y="2430000"/>
                </a:lnTo>
                <a:lnTo>
                  <a:pt x="7668000" y="0"/>
                </a:lnTo>
                <a:lnTo>
                  <a:pt x="7722000" y="0"/>
                </a:lnTo>
                <a:lnTo>
                  <a:pt x="7722000" y="2484000"/>
                </a:lnTo>
                <a:lnTo>
                  <a:pt x="5298813" y="2484000"/>
                </a:lnTo>
                <a:lnTo>
                  <a:pt x="5255682" y="2541677"/>
                </a:lnTo>
                <a:cubicBezTo>
                  <a:pt x="4925536" y="2941722"/>
                  <a:pt x="4425903" y="3196710"/>
                  <a:pt x="3866714" y="3196710"/>
                </a:cubicBezTo>
                <a:cubicBezTo>
                  <a:pt x="3307526" y="3196710"/>
                  <a:pt x="2807893" y="2941722"/>
                  <a:pt x="2477747" y="2541677"/>
                </a:cubicBezTo>
                <a:lnTo>
                  <a:pt x="2434617" y="2484000"/>
                </a:lnTo>
                <a:lnTo>
                  <a:pt x="0" y="2484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Tree>
    <p:extLst>
      <p:ext uri="{BB962C8B-B14F-4D97-AF65-F5344CB8AC3E}">
        <p14:creationId xmlns:p14="http://schemas.microsoft.com/office/powerpoint/2010/main" val="13458176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p:spTree>
      <p:nvGrpSpPr>
        <p:cNvPr id="1" name=""/>
        <p:cNvGrpSpPr/>
        <p:nvPr/>
      </p:nvGrpSpPr>
      <p:grpSpPr>
        <a:xfrm>
          <a:off x="0" y="0"/>
          <a:ext cx="0" cy="0"/>
          <a:chOff x="0" y="0"/>
          <a:chExt cx="0" cy="0"/>
        </a:xfrm>
      </p:grpSpPr>
      <p:sp>
        <p:nvSpPr>
          <p:cNvPr id="29" name="Bildplatzhalter 28"/>
          <p:cNvSpPr>
            <a:spLocks noGrp="1"/>
          </p:cNvSpPr>
          <p:nvPr>
            <p:ph type="pic" sz="quarter" idx="18"/>
          </p:nvPr>
        </p:nvSpPr>
        <p:spPr bwMode="gray">
          <a:xfrm>
            <a:off x="7779549" y="0"/>
            <a:ext cx="4412451" cy="6858000"/>
          </a:xfrm>
          <a:custGeom>
            <a:avLst/>
            <a:gdLst>
              <a:gd name="connsiteX0" fmla="*/ 0 w 4413600"/>
              <a:gd name="connsiteY0" fmla="*/ 4806776 h 6858000"/>
              <a:gd name="connsiteX1" fmla="*/ 216534 w 4413600"/>
              <a:gd name="connsiteY1" fmla="*/ 4814300 h 6858000"/>
              <a:gd name="connsiteX2" fmla="*/ 3171593 w 4413600"/>
              <a:gd name="connsiteY2" fmla="*/ 6717625 h 6858000"/>
              <a:gd name="connsiteX3" fmla="*/ 3239215 w 4413600"/>
              <a:gd name="connsiteY3" fmla="*/ 6858000 h 6858000"/>
              <a:gd name="connsiteX4" fmla="*/ 0 w 4413600"/>
              <a:gd name="connsiteY4" fmla="*/ 6858000 h 6858000"/>
              <a:gd name="connsiteX5" fmla="*/ 0 w 4413600"/>
              <a:gd name="connsiteY5" fmla="*/ 0 h 6858000"/>
              <a:gd name="connsiteX6" fmla="*/ 4413600 w 4413600"/>
              <a:gd name="connsiteY6" fmla="*/ 0 h 6858000"/>
              <a:gd name="connsiteX7" fmla="*/ 4413600 w 4413600"/>
              <a:gd name="connsiteY7" fmla="*/ 6858000 h 6858000"/>
              <a:gd name="connsiteX8" fmla="*/ 3303780 w 4413600"/>
              <a:gd name="connsiteY8" fmla="*/ 6858000 h 6858000"/>
              <a:gd name="connsiteX9" fmla="*/ 3300962 w 4413600"/>
              <a:gd name="connsiteY9" fmla="*/ 6851767 h 6858000"/>
              <a:gd name="connsiteX10" fmla="*/ 232131 w 4413600"/>
              <a:gd name="connsiteY10" fmla="*/ 4761273 h 6858000"/>
              <a:gd name="connsiteX11" fmla="*/ 0 w 4413600"/>
              <a:gd name="connsiteY11" fmla="*/ 475284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13600" h="6858000">
                <a:moveTo>
                  <a:pt x="0" y="4806776"/>
                </a:moveTo>
                <a:lnTo>
                  <a:pt x="216534" y="4814300"/>
                </a:lnTo>
                <a:cubicBezTo>
                  <a:pt x="1494573" y="4903423"/>
                  <a:pt x="2591500" y="5649771"/>
                  <a:pt x="3171593" y="6717625"/>
                </a:cubicBezTo>
                <a:lnTo>
                  <a:pt x="3239215" y="6858000"/>
                </a:lnTo>
                <a:lnTo>
                  <a:pt x="0" y="6858000"/>
                </a:lnTo>
                <a:close/>
                <a:moveTo>
                  <a:pt x="0" y="0"/>
                </a:moveTo>
                <a:lnTo>
                  <a:pt x="4413600" y="0"/>
                </a:lnTo>
                <a:lnTo>
                  <a:pt x="4413600" y="6858000"/>
                </a:lnTo>
                <a:lnTo>
                  <a:pt x="3303780" y="6858000"/>
                </a:lnTo>
                <a:lnTo>
                  <a:pt x="3300962" y="6851767"/>
                </a:lnTo>
                <a:cubicBezTo>
                  <a:pt x="2739546" y="5686639"/>
                  <a:pt x="1586841" y="4860046"/>
                  <a:pt x="232131" y="4761273"/>
                </a:cubicBezTo>
                <a:lnTo>
                  <a:pt x="0" y="4752842"/>
                </a:lnTo>
                <a:close/>
              </a:path>
            </a:pathLst>
          </a:custGeom>
          <a:solidFill>
            <a:schemeClr val="bg1"/>
          </a:solidFill>
        </p:spPr>
        <p:txBody>
          <a:bodyPr wrap="square" tIns="72000">
            <a:noAutofit/>
          </a:bodyPr>
          <a:lstStyle>
            <a:lvl1pPr algn="ctr">
              <a:defRPr b="0">
                <a:solidFill>
                  <a:schemeClr val="tx1"/>
                </a:solidFill>
              </a:defRPr>
            </a:lvl1pPr>
          </a:lstStyle>
          <a:p>
            <a:endParaRPr lang="de-DE" noProof="0" dirty="0"/>
          </a:p>
        </p:txBody>
      </p:sp>
      <p:sp>
        <p:nvSpPr>
          <p:cNvPr id="60" name="Rechteck 59"/>
          <p:cNvSpPr/>
          <p:nvPr userDrawn="1"/>
        </p:nvSpPr>
        <p:spPr bwMode="gray">
          <a:xfrm>
            <a:off x="7724239" y="0"/>
            <a:ext cx="5398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66" name="Freihandform: Form 65"/>
          <p:cNvSpPr>
            <a:spLocks noChangeAspect="1"/>
          </p:cNvSpPr>
          <p:nvPr userDrawn="1"/>
        </p:nvSpPr>
        <p:spPr bwMode="gray">
          <a:xfrm>
            <a:off x="4393872" y="4751338"/>
            <a:ext cx="6688596" cy="2106662"/>
          </a:xfrm>
          <a:custGeom>
            <a:avLst/>
            <a:gdLst>
              <a:gd name="connsiteX0" fmla="*/ 3345169 w 6690338"/>
              <a:gd name="connsiteY0" fmla="*/ 0 h 2106662"/>
              <a:gd name="connsiteX1" fmla="*/ 6687520 w 6690338"/>
              <a:gd name="connsiteY1" fmla="*/ 2100429 h 2106662"/>
              <a:gd name="connsiteX2" fmla="*/ 6690338 w 6690338"/>
              <a:gd name="connsiteY2" fmla="*/ 2106662 h 2106662"/>
              <a:gd name="connsiteX3" fmla="*/ 6625773 w 6690338"/>
              <a:gd name="connsiteY3" fmla="*/ 2106662 h 2106662"/>
              <a:gd name="connsiteX4" fmla="*/ 6558151 w 6690338"/>
              <a:gd name="connsiteY4" fmla="*/ 1966287 h 2106662"/>
              <a:gd name="connsiteX5" fmla="*/ 3345169 w 6690338"/>
              <a:gd name="connsiteY5" fmla="*/ 54000 h 2106662"/>
              <a:gd name="connsiteX6" fmla="*/ 132188 w 6690338"/>
              <a:gd name="connsiteY6" fmla="*/ 1966287 h 2106662"/>
              <a:gd name="connsiteX7" fmla="*/ 64565 w 6690338"/>
              <a:gd name="connsiteY7" fmla="*/ 2106662 h 2106662"/>
              <a:gd name="connsiteX8" fmla="*/ 0 w 6690338"/>
              <a:gd name="connsiteY8" fmla="*/ 2106662 h 2106662"/>
              <a:gd name="connsiteX9" fmla="*/ 2818 w 6690338"/>
              <a:gd name="connsiteY9" fmla="*/ 2100429 h 2106662"/>
              <a:gd name="connsiteX10" fmla="*/ 3345169 w 6690338"/>
              <a:gd name="connsiteY10" fmla="*/ 0 h 2106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90338" h="2106662">
                <a:moveTo>
                  <a:pt x="3345169" y="0"/>
                </a:moveTo>
                <a:cubicBezTo>
                  <a:pt x="4817077" y="0"/>
                  <a:pt x="6088676" y="857625"/>
                  <a:pt x="6687520" y="2100429"/>
                </a:cubicBezTo>
                <a:lnTo>
                  <a:pt x="6690338" y="2106662"/>
                </a:lnTo>
                <a:lnTo>
                  <a:pt x="6625773" y="2106662"/>
                </a:lnTo>
                <a:lnTo>
                  <a:pt x="6558151" y="1966287"/>
                </a:lnTo>
                <a:cubicBezTo>
                  <a:pt x="5939385" y="827243"/>
                  <a:pt x="4732577" y="54000"/>
                  <a:pt x="3345169" y="54000"/>
                </a:cubicBezTo>
                <a:cubicBezTo>
                  <a:pt x="1957761" y="54000"/>
                  <a:pt x="750953" y="827243"/>
                  <a:pt x="132188" y="1966287"/>
                </a:cubicBezTo>
                <a:lnTo>
                  <a:pt x="64565" y="2106662"/>
                </a:lnTo>
                <a:lnTo>
                  <a:pt x="0" y="2106662"/>
                </a:lnTo>
                <a:lnTo>
                  <a:pt x="2818" y="2100429"/>
                </a:lnTo>
                <a:cubicBezTo>
                  <a:pt x="601663" y="857625"/>
                  <a:pt x="1873261" y="0"/>
                  <a:pt x="3345169"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2" name="Titel 1"/>
          <p:cNvSpPr>
            <a:spLocks noGrp="1"/>
          </p:cNvSpPr>
          <p:nvPr>
            <p:ph type="ctrTitle"/>
          </p:nvPr>
        </p:nvSpPr>
        <p:spPr bwMode="gray">
          <a:xfrm>
            <a:off x="444843" y="2988048"/>
            <a:ext cx="6658266" cy="1538883"/>
          </a:xfrm>
        </p:spPr>
        <p:txBody>
          <a:bodyPr anchor="b" anchorCtr="0"/>
          <a:lstStyle>
            <a:lvl1pPr>
              <a:lnSpc>
                <a:spcPts val="4000"/>
              </a:lnSpc>
              <a:defRPr sz="3699" baseline="0"/>
            </a:lvl1pPr>
          </a:lstStyle>
          <a:p>
            <a:r>
              <a:rPr lang="de-DE" noProof="0" dirty="0"/>
              <a:t>Titelmasterformat durch Klicken bearbeiten</a:t>
            </a:r>
          </a:p>
        </p:txBody>
      </p:sp>
      <p:sp>
        <p:nvSpPr>
          <p:cNvPr id="3" name="Untertitel 2"/>
          <p:cNvSpPr>
            <a:spLocks noGrp="1"/>
          </p:cNvSpPr>
          <p:nvPr>
            <p:ph type="subTitle" idx="1"/>
          </p:nvPr>
        </p:nvSpPr>
        <p:spPr bwMode="gray">
          <a:xfrm>
            <a:off x="444843" y="4725999"/>
            <a:ext cx="5362603" cy="512961"/>
          </a:xfrm>
        </p:spPr>
        <p:txBody>
          <a:bodyPr>
            <a:spAutoFit/>
          </a:bodyPr>
          <a:lstStyle>
            <a:lvl1pPr marL="0" indent="0" algn="l">
              <a:spcBef>
                <a:spcPts val="0"/>
              </a:spcBef>
              <a:buNone/>
              <a:defRPr b="1" i="0" cap="all" spc="230" baseline="0">
                <a:solidFill>
                  <a:schemeClr val="tx1"/>
                </a:solidFil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de-DE" noProof="0" dirty="0"/>
              <a:t>Formatvorlage des Untertitelmasters durch Klicken bearbeiten</a:t>
            </a:r>
          </a:p>
        </p:txBody>
      </p:sp>
      <p:sp>
        <p:nvSpPr>
          <p:cNvPr id="10" name="Textplatzhalter 9"/>
          <p:cNvSpPr>
            <a:spLocks noGrp="1"/>
          </p:cNvSpPr>
          <p:nvPr>
            <p:ph type="body" sz="quarter" idx="10"/>
          </p:nvPr>
        </p:nvSpPr>
        <p:spPr bwMode="gray">
          <a:xfrm>
            <a:off x="444843" y="5172621"/>
            <a:ext cx="4858735" cy="205184"/>
          </a:xfrm>
        </p:spPr>
        <p:txBody>
          <a:bodyPr/>
          <a:lstStyle>
            <a:lvl1pPr marL="0" indent="0">
              <a:lnSpc>
                <a:spcPts val="1600"/>
              </a:lnSpc>
              <a:spcBef>
                <a:spcPts val="100"/>
              </a:spcBef>
              <a:buFont typeface="+mj-lt"/>
              <a:buNone/>
              <a:defRPr sz="1200" b="1">
                <a:solidFill>
                  <a:schemeClr val="tx1"/>
                </a:solidFill>
              </a:defRPr>
            </a:lvl1pPr>
            <a:lvl2pPr>
              <a:lnSpc>
                <a:spcPts val="1600"/>
              </a:lnSpc>
              <a:spcBef>
                <a:spcPts val="100"/>
              </a:spcBef>
              <a:defRPr sz="1200" b="0">
                <a:solidFill>
                  <a:schemeClr val="tx1"/>
                </a:solidFill>
              </a:defRPr>
            </a:lvl2pPr>
            <a:lvl3pPr marL="0" indent="0">
              <a:lnSpc>
                <a:spcPts val="1600"/>
              </a:lnSpc>
              <a:buNone/>
              <a:defRPr sz="1200"/>
            </a:lvl3pPr>
          </a:lstStyle>
          <a:p>
            <a:pPr lvl="0"/>
            <a:r>
              <a:rPr lang="de-DE" noProof="0" dirty="0"/>
              <a:t>Formatvorlagen des Textmasters bearbeiten</a:t>
            </a:r>
          </a:p>
        </p:txBody>
      </p:sp>
      <p:pic>
        <p:nvPicPr>
          <p:cNvPr id="6" name="Grafik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5466164" y="563254"/>
            <a:ext cx="1259672" cy="1370141"/>
          </a:xfrm>
          <a:prstGeom prst="rect">
            <a:avLst/>
          </a:prstGeom>
        </p:spPr>
      </p:pic>
      <p:grpSp>
        <p:nvGrpSpPr>
          <p:cNvPr id="40" name="Gruppieren 39"/>
          <p:cNvGrpSpPr/>
          <p:nvPr userDrawn="1"/>
        </p:nvGrpSpPr>
        <p:grpSpPr>
          <a:xfrm>
            <a:off x="449295" y="-153684"/>
            <a:ext cx="11297861" cy="108000"/>
            <a:chOff x="449412" y="0"/>
            <a:chExt cx="11300803" cy="108000"/>
          </a:xfrm>
        </p:grpSpPr>
        <p:sp>
          <p:nvSpPr>
            <p:cNvPr id="42" name="Freihandform: Form 41"/>
            <p:cNvSpPr/>
            <p:nvPr userDrawn="1"/>
          </p:nvSpPr>
          <p:spPr>
            <a:xfrm>
              <a:off x="449412"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43" name="Freihandform: Form 42"/>
            <p:cNvSpPr/>
            <p:nvPr userDrawn="1"/>
          </p:nvSpPr>
          <p:spPr>
            <a:xfrm>
              <a:off x="5950099"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44" name="Freihandform: Form 43"/>
            <p:cNvSpPr/>
            <p:nvPr userDrawn="1"/>
          </p:nvSpPr>
          <p:spPr>
            <a:xfrm>
              <a:off x="6242050"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45" name="Freihandform: Form 44"/>
            <p:cNvSpPr/>
            <p:nvPr userDrawn="1"/>
          </p:nvSpPr>
          <p:spPr>
            <a:xfrm>
              <a:off x="11750215"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grpSp>
      <p:grpSp>
        <p:nvGrpSpPr>
          <p:cNvPr id="46" name="Gruppieren 45"/>
          <p:cNvGrpSpPr/>
          <p:nvPr userDrawn="1"/>
        </p:nvGrpSpPr>
        <p:grpSpPr bwMode="gray">
          <a:xfrm>
            <a:off x="449295" y="6903684"/>
            <a:ext cx="11297861" cy="108000"/>
            <a:chOff x="449412" y="0"/>
            <a:chExt cx="11300803" cy="108000"/>
          </a:xfrm>
        </p:grpSpPr>
        <p:sp>
          <p:nvSpPr>
            <p:cNvPr id="48" name="Freihandform: Form 47"/>
            <p:cNvSpPr/>
            <p:nvPr userDrawn="1"/>
          </p:nvSpPr>
          <p:spPr bwMode="gray">
            <a:xfrm>
              <a:off x="449412"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49" name="Freihandform: Form 48"/>
            <p:cNvSpPr/>
            <p:nvPr userDrawn="1"/>
          </p:nvSpPr>
          <p:spPr bwMode="gray">
            <a:xfrm>
              <a:off x="5950099"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50" name="Freihandform: Form 49"/>
            <p:cNvSpPr/>
            <p:nvPr userDrawn="1"/>
          </p:nvSpPr>
          <p:spPr bwMode="gray">
            <a:xfrm>
              <a:off x="6242050"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51" name="Freihandform: Form 50"/>
            <p:cNvSpPr/>
            <p:nvPr userDrawn="1"/>
          </p:nvSpPr>
          <p:spPr bwMode="gray">
            <a:xfrm>
              <a:off x="11750215"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grpSp>
      <p:grpSp>
        <p:nvGrpSpPr>
          <p:cNvPr id="52" name="Gruppieren 51"/>
          <p:cNvGrpSpPr/>
          <p:nvPr userDrawn="1"/>
        </p:nvGrpSpPr>
        <p:grpSpPr>
          <a:xfrm>
            <a:off x="-149354" y="1664804"/>
            <a:ext cx="107973" cy="4500500"/>
            <a:chOff x="-149393" y="1664804"/>
            <a:chExt cx="108001" cy="4500500"/>
          </a:xfrm>
        </p:grpSpPr>
        <p:sp>
          <p:nvSpPr>
            <p:cNvPr id="53" name="Freihandform: Form 52"/>
            <p:cNvSpPr/>
            <p:nvPr userDrawn="1"/>
          </p:nvSpPr>
          <p:spPr>
            <a:xfrm rot="16200000">
              <a:off x="-95392" y="6111304"/>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54" name="Freihandform: Form 53"/>
            <p:cNvSpPr/>
            <p:nvPr userDrawn="1"/>
          </p:nvSpPr>
          <p:spPr>
            <a:xfrm rot="16200000">
              <a:off x="-95393" y="1610804"/>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grpSp>
      <p:grpSp>
        <p:nvGrpSpPr>
          <p:cNvPr id="55" name="Gruppieren 54"/>
          <p:cNvGrpSpPr/>
          <p:nvPr userDrawn="1"/>
        </p:nvGrpSpPr>
        <p:grpSpPr bwMode="gray">
          <a:xfrm>
            <a:off x="12233381" y="1664804"/>
            <a:ext cx="107973" cy="4500500"/>
            <a:chOff x="-149393" y="1664804"/>
            <a:chExt cx="108001" cy="4500500"/>
          </a:xfrm>
        </p:grpSpPr>
        <p:sp>
          <p:nvSpPr>
            <p:cNvPr id="56" name="Freihandform: Form 55"/>
            <p:cNvSpPr/>
            <p:nvPr userDrawn="1"/>
          </p:nvSpPr>
          <p:spPr bwMode="gray">
            <a:xfrm rot="16200000">
              <a:off x="-95392" y="6111304"/>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57" name="Freihandform: Form 56"/>
            <p:cNvSpPr/>
            <p:nvPr userDrawn="1"/>
          </p:nvSpPr>
          <p:spPr bwMode="gray">
            <a:xfrm rot="16200000">
              <a:off x="-95393" y="1610804"/>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grpSp>
      <p:sp>
        <p:nvSpPr>
          <p:cNvPr id="25" name="Textplatzhalter 9"/>
          <p:cNvSpPr>
            <a:spLocks noGrp="1"/>
          </p:cNvSpPr>
          <p:nvPr>
            <p:ph type="body" sz="quarter" idx="11"/>
          </p:nvPr>
        </p:nvSpPr>
        <p:spPr bwMode="gray">
          <a:xfrm>
            <a:off x="444843" y="5346736"/>
            <a:ext cx="4860000" cy="205184"/>
          </a:xfrm>
        </p:spPr>
        <p:txBody>
          <a:bodyPr/>
          <a:lstStyle>
            <a:lvl1pPr marL="0" indent="0">
              <a:lnSpc>
                <a:spcPts val="1600"/>
              </a:lnSpc>
              <a:spcBef>
                <a:spcPts val="100"/>
              </a:spcBef>
              <a:buFont typeface="+mj-lt"/>
              <a:buNone/>
              <a:defRPr sz="1200" b="1">
                <a:solidFill>
                  <a:schemeClr val="tx1"/>
                </a:solidFill>
              </a:defRPr>
            </a:lvl1pPr>
            <a:lvl2pPr>
              <a:lnSpc>
                <a:spcPts val="1600"/>
              </a:lnSpc>
              <a:spcBef>
                <a:spcPts val="100"/>
              </a:spcBef>
              <a:defRPr sz="1200" b="0">
                <a:solidFill>
                  <a:schemeClr val="tx1"/>
                </a:solidFill>
              </a:defRPr>
            </a:lvl2pPr>
            <a:lvl3pPr marL="0" indent="0">
              <a:lnSpc>
                <a:spcPts val="1600"/>
              </a:lnSpc>
              <a:buNone/>
              <a:defRPr sz="1200"/>
            </a:lvl3pPr>
          </a:lstStyle>
          <a:p>
            <a:pPr lvl="0"/>
            <a:r>
              <a:rPr lang="de-DE" noProof="0" dirty="0"/>
              <a:t>Formatvorlagen des Textmasters bearbeiten</a:t>
            </a:r>
          </a:p>
        </p:txBody>
      </p:sp>
    </p:spTree>
    <p:extLst>
      <p:ext uri="{BB962C8B-B14F-4D97-AF65-F5344CB8AC3E}">
        <p14:creationId xmlns:p14="http://schemas.microsoft.com/office/powerpoint/2010/main" val="42783735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rennfolie ohne Bild">
    <p:spTree>
      <p:nvGrpSpPr>
        <p:cNvPr id="1" name=""/>
        <p:cNvGrpSpPr/>
        <p:nvPr/>
      </p:nvGrpSpPr>
      <p:grpSpPr>
        <a:xfrm>
          <a:off x="0" y="0"/>
          <a:ext cx="0" cy="0"/>
          <a:chOff x="0" y="0"/>
          <a:chExt cx="0" cy="0"/>
        </a:xfrm>
      </p:grpSpPr>
      <p:sp>
        <p:nvSpPr>
          <p:cNvPr id="18" name="Freihandform: Form 17"/>
          <p:cNvSpPr/>
          <p:nvPr userDrawn="1"/>
        </p:nvSpPr>
        <p:spPr bwMode="gray">
          <a:xfrm>
            <a:off x="2230292" y="0"/>
            <a:ext cx="7719990" cy="3196710"/>
          </a:xfrm>
          <a:custGeom>
            <a:avLst/>
            <a:gdLst>
              <a:gd name="connsiteX0" fmla="*/ 2501972 w 7722000"/>
              <a:gd name="connsiteY0" fmla="*/ 2484000 h 3196710"/>
              <a:gd name="connsiteX1" fmla="*/ 2519416 w 7722000"/>
              <a:gd name="connsiteY1" fmla="*/ 2507328 h 3196710"/>
              <a:gd name="connsiteX2" fmla="*/ 3866714 w 7722000"/>
              <a:gd name="connsiteY2" fmla="*/ 3142710 h 3196710"/>
              <a:gd name="connsiteX3" fmla="*/ 5214013 w 7722000"/>
              <a:gd name="connsiteY3" fmla="*/ 2507328 h 3196710"/>
              <a:gd name="connsiteX4" fmla="*/ 5231457 w 7722000"/>
              <a:gd name="connsiteY4" fmla="*/ 2484000 h 3196710"/>
              <a:gd name="connsiteX5" fmla="*/ 2055661 w 7722000"/>
              <a:gd name="connsiteY5" fmla="*/ 0 h 3196710"/>
              <a:gd name="connsiteX6" fmla="*/ 2109661 w 7722000"/>
              <a:gd name="connsiteY6" fmla="*/ 0 h 3196710"/>
              <a:gd name="connsiteX7" fmla="*/ 2109661 w 7722000"/>
              <a:gd name="connsiteY7" fmla="*/ 252000 h 3196710"/>
              <a:gd name="connsiteX8" fmla="*/ 5601661 w 7722000"/>
              <a:gd name="connsiteY8" fmla="*/ 252000 h 3196710"/>
              <a:gd name="connsiteX9" fmla="*/ 5601661 w 7722000"/>
              <a:gd name="connsiteY9" fmla="*/ 0 h 3196710"/>
              <a:gd name="connsiteX10" fmla="*/ 5655661 w 7722000"/>
              <a:gd name="connsiteY10" fmla="*/ 0 h 3196710"/>
              <a:gd name="connsiteX11" fmla="*/ 5655661 w 7722000"/>
              <a:gd name="connsiteY11" fmla="*/ 306000 h 3196710"/>
              <a:gd name="connsiteX12" fmla="*/ 2055661 w 7722000"/>
              <a:gd name="connsiteY12" fmla="*/ 306000 h 3196710"/>
              <a:gd name="connsiteX13" fmla="*/ 0 w 7722000"/>
              <a:gd name="connsiteY13" fmla="*/ 0 h 3196710"/>
              <a:gd name="connsiteX14" fmla="*/ 54000 w 7722000"/>
              <a:gd name="connsiteY14" fmla="*/ 0 h 3196710"/>
              <a:gd name="connsiteX15" fmla="*/ 54000 w 7722000"/>
              <a:gd name="connsiteY15" fmla="*/ 2430000 h 3196710"/>
              <a:gd name="connsiteX16" fmla="*/ 7668000 w 7722000"/>
              <a:gd name="connsiteY16" fmla="*/ 2430000 h 3196710"/>
              <a:gd name="connsiteX17" fmla="*/ 7668000 w 7722000"/>
              <a:gd name="connsiteY17" fmla="*/ 0 h 3196710"/>
              <a:gd name="connsiteX18" fmla="*/ 7722000 w 7722000"/>
              <a:gd name="connsiteY18" fmla="*/ 0 h 3196710"/>
              <a:gd name="connsiteX19" fmla="*/ 7722000 w 7722000"/>
              <a:gd name="connsiteY19" fmla="*/ 2484000 h 3196710"/>
              <a:gd name="connsiteX20" fmla="*/ 5298813 w 7722000"/>
              <a:gd name="connsiteY20" fmla="*/ 2484000 h 3196710"/>
              <a:gd name="connsiteX21" fmla="*/ 5255682 w 7722000"/>
              <a:gd name="connsiteY21" fmla="*/ 2541677 h 3196710"/>
              <a:gd name="connsiteX22" fmla="*/ 3866714 w 7722000"/>
              <a:gd name="connsiteY22" fmla="*/ 3196710 h 3196710"/>
              <a:gd name="connsiteX23" fmla="*/ 2477747 w 7722000"/>
              <a:gd name="connsiteY23" fmla="*/ 2541677 h 3196710"/>
              <a:gd name="connsiteX24" fmla="*/ 2434617 w 7722000"/>
              <a:gd name="connsiteY24" fmla="*/ 2484000 h 3196710"/>
              <a:gd name="connsiteX25" fmla="*/ 0 w 7722000"/>
              <a:gd name="connsiteY25" fmla="*/ 2484000 h 3196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722000" h="3196710">
                <a:moveTo>
                  <a:pt x="2501972" y="2484000"/>
                </a:moveTo>
                <a:lnTo>
                  <a:pt x="2519416" y="2507328"/>
                </a:lnTo>
                <a:cubicBezTo>
                  <a:pt x="2839658" y="2895372"/>
                  <a:pt x="3324302" y="3142710"/>
                  <a:pt x="3866714" y="3142710"/>
                </a:cubicBezTo>
                <a:cubicBezTo>
                  <a:pt x="4409127" y="3142710"/>
                  <a:pt x="4893771" y="2895372"/>
                  <a:pt x="5214013" y="2507328"/>
                </a:cubicBezTo>
                <a:lnTo>
                  <a:pt x="5231457" y="2484000"/>
                </a:lnTo>
                <a:close/>
                <a:moveTo>
                  <a:pt x="2055661" y="0"/>
                </a:moveTo>
                <a:lnTo>
                  <a:pt x="2109661" y="0"/>
                </a:lnTo>
                <a:lnTo>
                  <a:pt x="2109661" y="252000"/>
                </a:lnTo>
                <a:lnTo>
                  <a:pt x="5601661" y="252000"/>
                </a:lnTo>
                <a:lnTo>
                  <a:pt x="5601661" y="0"/>
                </a:lnTo>
                <a:lnTo>
                  <a:pt x="5655661" y="0"/>
                </a:lnTo>
                <a:lnTo>
                  <a:pt x="5655661" y="306000"/>
                </a:lnTo>
                <a:lnTo>
                  <a:pt x="2055661" y="306000"/>
                </a:lnTo>
                <a:close/>
                <a:moveTo>
                  <a:pt x="0" y="0"/>
                </a:moveTo>
                <a:lnTo>
                  <a:pt x="54000" y="0"/>
                </a:lnTo>
                <a:lnTo>
                  <a:pt x="54000" y="2430000"/>
                </a:lnTo>
                <a:lnTo>
                  <a:pt x="7668000" y="2430000"/>
                </a:lnTo>
                <a:lnTo>
                  <a:pt x="7668000" y="0"/>
                </a:lnTo>
                <a:lnTo>
                  <a:pt x="7722000" y="0"/>
                </a:lnTo>
                <a:lnTo>
                  <a:pt x="7722000" y="2484000"/>
                </a:lnTo>
                <a:lnTo>
                  <a:pt x="5298813" y="2484000"/>
                </a:lnTo>
                <a:lnTo>
                  <a:pt x="5255682" y="2541677"/>
                </a:lnTo>
                <a:cubicBezTo>
                  <a:pt x="4925536" y="2941722"/>
                  <a:pt x="4425903" y="3196710"/>
                  <a:pt x="3866714" y="3196710"/>
                </a:cubicBezTo>
                <a:cubicBezTo>
                  <a:pt x="3307526" y="3196710"/>
                  <a:pt x="2807893" y="2941722"/>
                  <a:pt x="2477747" y="2541677"/>
                </a:cubicBezTo>
                <a:lnTo>
                  <a:pt x="2434617" y="2484000"/>
                </a:lnTo>
                <a:lnTo>
                  <a:pt x="0" y="2484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2" name="Datumsplatzhalter 1"/>
          <p:cNvSpPr>
            <a:spLocks noGrp="1"/>
          </p:cNvSpPr>
          <p:nvPr>
            <p:ph type="dt" sz="half" idx="10"/>
          </p:nvPr>
        </p:nvSpPr>
        <p:spPr bwMode="gray"/>
        <p:txBody>
          <a:bodyPr/>
          <a:lstStyle/>
          <a:p>
            <a:fld id="{3E119D66-E268-4737-A8A4-C0D9BEA2F792}" type="datetime1">
              <a:rPr lang="de-DE" noProof="0" smtClean="0"/>
              <a:t>08.01.2022</a:t>
            </a:fld>
            <a:endParaRPr lang="de-DE" noProof="0" dirty="0"/>
          </a:p>
        </p:txBody>
      </p:sp>
      <p:sp>
        <p:nvSpPr>
          <p:cNvPr id="3" name="Fußzeilenplatzhalter 2"/>
          <p:cNvSpPr>
            <a:spLocks noGrp="1"/>
          </p:cNvSpPr>
          <p:nvPr>
            <p:ph type="ftr" sz="quarter" idx="11"/>
          </p:nvPr>
        </p:nvSpPr>
        <p:spPr bwMode="gray"/>
        <p:txBody>
          <a:bodyPr/>
          <a:lstStyle/>
          <a:p>
            <a:r>
              <a:rPr lang="de-DE" noProof="0" dirty="0"/>
              <a:t>/  Styleguide, Musterfolien für Präsentationen</a:t>
            </a:r>
          </a:p>
        </p:txBody>
      </p:sp>
      <p:sp>
        <p:nvSpPr>
          <p:cNvPr id="4" name="Foliennummernplatzhalter 3"/>
          <p:cNvSpPr>
            <a:spLocks noGrp="1"/>
          </p:cNvSpPr>
          <p:nvPr>
            <p:ph type="sldNum" sz="quarter" idx="12"/>
          </p:nvPr>
        </p:nvSpPr>
        <p:spPr bwMode="gray"/>
        <p:txBody>
          <a:bodyPr/>
          <a:lstStyle/>
          <a:p>
            <a:r>
              <a:rPr lang="de-DE" noProof="0" dirty="0"/>
              <a:t>Seite </a:t>
            </a:r>
            <a:fld id="{105F6080-11B6-4F5B-BFCF-ADAD48E4948B}" type="slidenum">
              <a:rPr lang="de-DE" noProof="0" smtClean="0"/>
              <a:pPr/>
              <a:t>‹Nr.›</a:t>
            </a:fld>
            <a:endParaRPr lang="de-DE" noProof="0" dirty="0"/>
          </a:p>
        </p:txBody>
      </p:sp>
      <p:sp>
        <p:nvSpPr>
          <p:cNvPr id="7" name="Textplatzhalter 6"/>
          <p:cNvSpPr>
            <a:spLocks noGrp="1"/>
          </p:cNvSpPr>
          <p:nvPr>
            <p:ph type="body" sz="quarter" idx="13"/>
          </p:nvPr>
        </p:nvSpPr>
        <p:spPr bwMode="gray">
          <a:xfrm>
            <a:off x="444843" y="3263300"/>
            <a:ext cx="11301057" cy="1025922"/>
          </a:xfrm>
        </p:spPr>
        <p:txBody>
          <a:bodyPr/>
          <a:lstStyle>
            <a:lvl1pPr>
              <a:lnSpc>
                <a:spcPts val="4000"/>
              </a:lnSpc>
              <a:spcBef>
                <a:spcPts val="0"/>
              </a:spcBef>
              <a:defRPr sz="3699" cap="all" spc="400" baseline="0">
                <a:solidFill>
                  <a:schemeClr val="tx1"/>
                </a:solidFill>
              </a:defRPr>
            </a:lvl1pPr>
          </a:lstStyle>
          <a:p>
            <a:pPr lvl="0"/>
            <a:r>
              <a:rPr lang="de-DE" noProof="0" dirty="0"/>
              <a:t>Formatvorlagen des Textmasters bearbeiten</a:t>
            </a:r>
          </a:p>
        </p:txBody>
      </p:sp>
      <p:pic>
        <p:nvPicPr>
          <p:cNvPr id="17" name="Grafik 16"/>
          <p:cNvPicPr>
            <a:picLocks noChangeAspect="1"/>
          </p:cNvPicPr>
          <p:nvPr userDrawn="1"/>
        </p:nvPicPr>
        <p:blipFill rotWithShape="1">
          <a:blip r:embed="rId2">
            <a:extLst>
              <a:ext uri="{28A0092B-C50C-407E-A947-70E740481C1C}">
                <a14:useLocalDpi xmlns:a14="http://schemas.microsoft.com/office/drawing/2010/main" val="0"/>
              </a:ext>
            </a:extLst>
          </a:blip>
          <a:srcRect b="27486"/>
          <a:stretch/>
        </p:blipFill>
        <p:spPr bwMode="gray">
          <a:xfrm>
            <a:off x="5466164" y="563254"/>
            <a:ext cx="1259672" cy="993539"/>
          </a:xfrm>
          <a:prstGeom prst="rect">
            <a:avLst/>
          </a:prstGeom>
        </p:spPr>
      </p:pic>
      <p:grpSp>
        <p:nvGrpSpPr>
          <p:cNvPr id="20" name="Gruppieren 19"/>
          <p:cNvGrpSpPr/>
          <p:nvPr userDrawn="1"/>
        </p:nvGrpSpPr>
        <p:grpSpPr bwMode="gray">
          <a:xfrm>
            <a:off x="449295" y="-153684"/>
            <a:ext cx="11297861" cy="108000"/>
            <a:chOff x="449412" y="0"/>
            <a:chExt cx="11300803" cy="108000"/>
          </a:xfrm>
        </p:grpSpPr>
        <p:sp>
          <p:nvSpPr>
            <p:cNvPr id="22" name="Freihandform: Form 21"/>
            <p:cNvSpPr/>
            <p:nvPr userDrawn="1"/>
          </p:nvSpPr>
          <p:spPr bwMode="gray">
            <a:xfrm>
              <a:off x="449412"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23" name="Freihandform: Form 22"/>
            <p:cNvSpPr/>
            <p:nvPr userDrawn="1"/>
          </p:nvSpPr>
          <p:spPr bwMode="gray">
            <a:xfrm>
              <a:off x="5950099"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24" name="Freihandform: Form 23"/>
            <p:cNvSpPr/>
            <p:nvPr userDrawn="1"/>
          </p:nvSpPr>
          <p:spPr bwMode="gray">
            <a:xfrm>
              <a:off x="6242050"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25" name="Freihandform: Form 24"/>
            <p:cNvSpPr/>
            <p:nvPr userDrawn="1"/>
          </p:nvSpPr>
          <p:spPr bwMode="gray">
            <a:xfrm>
              <a:off x="11750215"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grpSp>
      <p:grpSp>
        <p:nvGrpSpPr>
          <p:cNvPr id="26" name="Gruppieren 25"/>
          <p:cNvGrpSpPr/>
          <p:nvPr userDrawn="1"/>
        </p:nvGrpSpPr>
        <p:grpSpPr bwMode="gray">
          <a:xfrm>
            <a:off x="449295" y="6903684"/>
            <a:ext cx="11297861" cy="108000"/>
            <a:chOff x="449412" y="0"/>
            <a:chExt cx="11300803" cy="108000"/>
          </a:xfrm>
        </p:grpSpPr>
        <p:sp>
          <p:nvSpPr>
            <p:cNvPr id="28" name="Freihandform: Form 27"/>
            <p:cNvSpPr/>
            <p:nvPr userDrawn="1"/>
          </p:nvSpPr>
          <p:spPr bwMode="gray">
            <a:xfrm>
              <a:off x="449412"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29" name="Freihandform: Form 28"/>
            <p:cNvSpPr/>
            <p:nvPr userDrawn="1"/>
          </p:nvSpPr>
          <p:spPr bwMode="gray">
            <a:xfrm>
              <a:off x="5950099"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30" name="Freihandform: Form 29"/>
            <p:cNvSpPr/>
            <p:nvPr userDrawn="1"/>
          </p:nvSpPr>
          <p:spPr bwMode="gray">
            <a:xfrm>
              <a:off x="6242050"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31" name="Freihandform: Form 30"/>
            <p:cNvSpPr/>
            <p:nvPr userDrawn="1"/>
          </p:nvSpPr>
          <p:spPr bwMode="gray">
            <a:xfrm>
              <a:off x="11750215"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grpSp>
      <p:grpSp>
        <p:nvGrpSpPr>
          <p:cNvPr id="32" name="Gruppieren 31"/>
          <p:cNvGrpSpPr/>
          <p:nvPr userDrawn="1"/>
        </p:nvGrpSpPr>
        <p:grpSpPr>
          <a:xfrm>
            <a:off x="-149354" y="1664804"/>
            <a:ext cx="107973" cy="4500500"/>
            <a:chOff x="-149393" y="1664804"/>
            <a:chExt cx="108001" cy="4500500"/>
          </a:xfrm>
        </p:grpSpPr>
        <p:sp>
          <p:nvSpPr>
            <p:cNvPr id="33" name="Freihandform: Form 32"/>
            <p:cNvSpPr/>
            <p:nvPr userDrawn="1"/>
          </p:nvSpPr>
          <p:spPr>
            <a:xfrm rot="16200000">
              <a:off x="-95392" y="6111304"/>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34" name="Freihandform: Form 33"/>
            <p:cNvSpPr/>
            <p:nvPr userDrawn="1"/>
          </p:nvSpPr>
          <p:spPr>
            <a:xfrm rot="16200000">
              <a:off x="-95393" y="1610804"/>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grpSp>
      <p:grpSp>
        <p:nvGrpSpPr>
          <p:cNvPr id="35" name="Gruppieren 34"/>
          <p:cNvGrpSpPr/>
          <p:nvPr userDrawn="1"/>
        </p:nvGrpSpPr>
        <p:grpSpPr bwMode="gray">
          <a:xfrm>
            <a:off x="12233381" y="1664804"/>
            <a:ext cx="107973" cy="4500500"/>
            <a:chOff x="-149393" y="1664804"/>
            <a:chExt cx="108001" cy="4500500"/>
          </a:xfrm>
        </p:grpSpPr>
        <p:sp>
          <p:nvSpPr>
            <p:cNvPr id="36" name="Freihandform: Form 35"/>
            <p:cNvSpPr/>
            <p:nvPr userDrawn="1"/>
          </p:nvSpPr>
          <p:spPr bwMode="gray">
            <a:xfrm rot="16200000">
              <a:off x="-95392" y="6111304"/>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37" name="Freihandform: Form 36"/>
            <p:cNvSpPr/>
            <p:nvPr userDrawn="1"/>
          </p:nvSpPr>
          <p:spPr bwMode="gray">
            <a:xfrm rot="16200000">
              <a:off x="-95393" y="1610804"/>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grpSp>
      <p:sp>
        <p:nvSpPr>
          <p:cNvPr id="27" name="Rechteck 26"/>
          <p:cNvSpPr/>
          <p:nvPr userDrawn="1"/>
        </p:nvSpPr>
        <p:spPr>
          <a:xfrm>
            <a:off x="442913" y="6363099"/>
            <a:ext cx="11304587" cy="1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lnSpc>
                <a:spcPts val="2000"/>
              </a:lnSpc>
              <a:spcBef>
                <a:spcPts val="400"/>
              </a:spcBef>
              <a:buClr>
                <a:schemeClr val="bg1"/>
              </a:buClr>
              <a:buFont typeface="DFB Sans Ofc" panose="020B0503030500020204"/>
              <a:buChar char="›"/>
            </a:pPr>
            <a:endParaRPr lang="de-DE" sz="1600" dirty="0"/>
          </a:p>
        </p:txBody>
      </p:sp>
    </p:spTree>
    <p:extLst>
      <p:ext uri="{BB962C8B-B14F-4D97-AF65-F5344CB8AC3E}">
        <p14:creationId xmlns:p14="http://schemas.microsoft.com/office/powerpoint/2010/main" val="4512651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rennfolie mit Bild">
    <p:spTree>
      <p:nvGrpSpPr>
        <p:cNvPr id="1" name=""/>
        <p:cNvGrpSpPr/>
        <p:nvPr/>
      </p:nvGrpSpPr>
      <p:grpSpPr>
        <a:xfrm>
          <a:off x="0" y="0"/>
          <a:ext cx="0" cy="0"/>
          <a:chOff x="0" y="0"/>
          <a:chExt cx="0" cy="0"/>
        </a:xfrm>
      </p:grpSpPr>
      <p:sp>
        <p:nvSpPr>
          <p:cNvPr id="7" name="Textplatzhalter 6"/>
          <p:cNvSpPr>
            <a:spLocks noGrp="1"/>
          </p:cNvSpPr>
          <p:nvPr>
            <p:ph type="body" sz="quarter" idx="13"/>
          </p:nvPr>
        </p:nvSpPr>
        <p:spPr bwMode="gray">
          <a:xfrm>
            <a:off x="444843" y="2480776"/>
            <a:ext cx="6658266" cy="1538883"/>
          </a:xfrm>
        </p:spPr>
        <p:txBody>
          <a:bodyPr/>
          <a:lstStyle>
            <a:lvl1pPr>
              <a:lnSpc>
                <a:spcPts val="4000"/>
              </a:lnSpc>
              <a:spcBef>
                <a:spcPts val="0"/>
              </a:spcBef>
              <a:defRPr sz="3699" cap="all" spc="400" baseline="0">
                <a:solidFill>
                  <a:schemeClr val="tx1"/>
                </a:solidFill>
              </a:defRPr>
            </a:lvl1pPr>
          </a:lstStyle>
          <a:p>
            <a:pPr lvl="0"/>
            <a:r>
              <a:rPr lang="de-DE" noProof="0" dirty="0"/>
              <a:t>Formatvorlagen des Textmasters bearbeiten</a:t>
            </a:r>
          </a:p>
        </p:txBody>
      </p:sp>
      <p:pic>
        <p:nvPicPr>
          <p:cNvPr id="8" name="Grafik 7"/>
          <p:cNvPicPr>
            <a:picLocks noChangeAspect="1"/>
          </p:cNvPicPr>
          <p:nvPr userDrawn="1"/>
        </p:nvPicPr>
        <p:blipFill rotWithShape="1">
          <a:blip r:embed="rId2">
            <a:extLst>
              <a:ext uri="{28A0092B-C50C-407E-A947-70E740481C1C}">
                <a14:useLocalDpi xmlns:a14="http://schemas.microsoft.com/office/drawing/2010/main" val="0"/>
              </a:ext>
            </a:extLst>
          </a:blip>
          <a:srcRect b="27486"/>
          <a:stretch/>
        </p:blipFill>
        <p:spPr bwMode="gray">
          <a:xfrm>
            <a:off x="5466164" y="563254"/>
            <a:ext cx="1259672" cy="993539"/>
          </a:xfrm>
          <a:prstGeom prst="rect">
            <a:avLst/>
          </a:prstGeom>
        </p:spPr>
      </p:pic>
      <p:sp>
        <p:nvSpPr>
          <p:cNvPr id="2" name="Datumsplatzhalter 1"/>
          <p:cNvSpPr>
            <a:spLocks noGrp="1"/>
          </p:cNvSpPr>
          <p:nvPr>
            <p:ph type="dt" sz="half" idx="10"/>
          </p:nvPr>
        </p:nvSpPr>
        <p:spPr bwMode="gray"/>
        <p:txBody>
          <a:bodyPr/>
          <a:lstStyle/>
          <a:p>
            <a:fld id="{0B13105C-3C8B-45E4-B078-C237EB3B60EA}" type="datetime1">
              <a:rPr lang="de-DE" noProof="0" smtClean="0"/>
              <a:t>08.01.2022</a:t>
            </a:fld>
            <a:endParaRPr lang="de-DE" noProof="0" dirty="0"/>
          </a:p>
        </p:txBody>
      </p:sp>
      <p:sp>
        <p:nvSpPr>
          <p:cNvPr id="3" name="Fußzeilenplatzhalter 2"/>
          <p:cNvSpPr>
            <a:spLocks noGrp="1"/>
          </p:cNvSpPr>
          <p:nvPr>
            <p:ph type="ftr" sz="quarter" idx="11"/>
          </p:nvPr>
        </p:nvSpPr>
        <p:spPr bwMode="gray"/>
        <p:txBody>
          <a:bodyPr/>
          <a:lstStyle/>
          <a:p>
            <a:r>
              <a:rPr lang="de-DE" noProof="0" dirty="0"/>
              <a:t>/  Styleguide, Musterfolien für Präsentationen</a:t>
            </a:r>
          </a:p>
        </p:txBody>
      </p:sp>
      <p:sp>
        <p:nvSpPr>
          <p:cNvPr id="4" name="Foliennummernplatzhalter 3"/>
          <p:cNvSpPr>
            <a:spLocks noGrp="1"/>
          </p:cNvSpPr>
          <p:nvPr>
            <p:ph type="sldNum" sz="quarter" idx="12"/>
          </p:nvPr>
        </p:nvSpPr>
        <p:spPr bwMode="gray"/>
        <p:txBody>
          <a:bodyPr/>
          <a:lstStyle/>
          <a:p>
            <a:r>
              <a:rPr lang="de-DE" noProof="0" dirty="0"/>
              <a:t>Seite </a:t>
            </a:r>
            <a:fld id="{105F6080-11B6-4F5B-BFCF-ADAD48E4948B}" type="slidenum">
              <a:rPr lang="de-DE" noProof="0" smtClean="0"/>
              <a:pPr/>
              <a:t>‹Nr.›</a:t>
            </a:fld>
            <a:endParaRPr lang="de-DE" noProof="0" dirty="0"/>
          </a:p>
        </p:txBody>
      </p:sp>
      <p:grpSp>
        <p:nvGrpSpPr>
          <p:cNvPr id="13" name="Gruppieren 12"/>
          <p:cNvGrpSpPr/>
          <p:nvPr userDrawn="1"/>
        </p:nvGrpSpPr>
        <p:grpSpPr bwMode="gray">
          <a:xfrm>
            <a:off x="449295" y="-153684"/>
            <a:ext cx="11297861" cy="108000"/>
            <a:chOff x="449412" y="0"/>
            <a:chExt cx="11300803" cy="108000"/>
          </a:xfrm>
        </p:grpSpPr>
        <p:sp>
          <p:nvSpPr>
            <p:cNvPr id="15" name="Freihandform: Form 14"/>
            <p:cNvSpPr/>
            <p:nvPr userDrawn="1"/>
          </p:nvSpPr>
          <p:spPr bwMode="gray">
            <a:xfrm>
              <a:off x="449412"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16" name="Freihandform: Form 15"/>
            <p:cNvSpPr/>
            <p:nvPr userDrawn="1"/>
          </p:nvSpPr>
          <p:spPr bwMode="gray">
            <a:xfrm>
              <a:off x="5950099"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17" name="Freihandform: Form 16"/>
            <p:cNvSpPr/>
            <p:nvPr userDrawn="1"/>
          </p:nvSpPr>
          <p:spPr bwMode="gray">
            <a:xfrm>
              <a:off x="6242050"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18" name="Freihandform: Form 17"/>
            <p:cNvSpPr/>
            <p:nvPr userDrawn="1"/>
          </p:nvSpPr>
          <p:spPr bwMode="gray">
            <a:xfrm>
              <a:off x="11750215"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grpSp>
      <p:grpSp>
        <p:nvGrpSpPr>
          <p:cNvPr id="19" name="Gruppieren 18"/>
          <p:cNvGrpSpPr/>
          <p:nvPr userDrawn="1"/>
        </p:nvGrpSpPr>
        <p:grpSpPr bwMode="gray">
          <a:xfrm>
            <a:off x="449295" y="6903684"/>
            <a:ext cx="11297861" cy="108000"/>
            <a:chOff x="449412" y="0"/>
            <a:chExt cx="11300803" cy="108000"/>
          </a:xfrm>
        </p:grpSpPr>
        <p:sp>
          <p:nvSpPr>
            <p:cNvPr id="21" name="Freihandform: Form 20"/>
            <p:cNvSpPr/>
            <p:nvPr userDrawn="1"/>
          </p:nvSpPr>
          <p:spPr bwMode="gray">
            <a:xfrm>
              <a:off x="449412"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22" name="Freihandform: Form 21"/>
            <p:cNvSpPr/>
            <p:nvPr userDrawn="1"/>
          </p:nvSpPr>
          <p:spPr bwMode="gray">
            <a:xfrm>
              <a:off x="5950099"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23" name="Freihandform: Form 22"/>
            <p:cNvSpPr/>
            <p:nvPr userDrawn="1"/>
          </p:nvSpPr>
          <p:spPr bwMode="gray">
            <a:xfrm>
              <a:off x="6242050"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24" name="Freihandform: Form 23"/>
            <p:cNvSpPr/>
            <p:nvPr userDrawn="1"/>
          </p:nvSpPr>
          <p:spPr bwMode="gray">
            <a:xfrm>
              <a:off x="11750215"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grpSp>
      <p:grpSp>
        <p:nvGrpSpPr>
          <p:cNvPr id="25" name="Gruppieren 24"/>
          <p:cNvGrpSpPr/>
          <p:nvPr userDrawn="1"/>
        </p:nvGrpSpPr>
        <p:grpSpPr>
          <a:xfrm>
            <a:off x="-149354" y="1664804"/>
            <a:ext cx="107973" cy="4500500"/>
            <a:chOff x="-149393" y="1664804"/>
            <a:chExt cx="108001" cy="4500500"/>
          </a:xfrm>
        </p:grpSpPr>
        <p:sp>
          <p:nvSpPr>
            <p:cNvPr id="26" name="Freihandform: Form 25"/>
            <p:cNvSpPr/>
            <p:nvPr userDrawn="1"/>
          </p:nvSpPr>
          <p:spPr>
            <a:xfrm rot="16200000">
              <a:off x="-95392" y="6111304"/>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27" name="Freihandform: Form 26"/>
            <p:cNvSpPr/>
            <p:nvPr userDrawn="1"/>
          </p:nvSpPr>
          <p:spPr>
            <a:xfrm rot="16200000">
              <a:off x="-95393" y="1610804"/>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grpSp>
      <p:grpSp>
        <p:nvGrpSpPr>
          <p:cNvPr id="28" name="Gruppieren 27"/>
          <p:cNvGrpSpPr/>
          <p:nvPr userDrawn="1"/>
        </p:nvGrpSpPr>
        <p:grpSpPr bwMode="gray">
          <a:xfrm>
            <a:off x="12233381" y="1664804"/>
            <a:ext cx="107973" cy="4500500"/>
            <a:chOff x="-149393" y="1664804"/>
            <a:chExt cx="108001" cy="4500500"/>
          </a:xfrm>
        </p:grpSpPr>
        <p:sp>
          <p:nvSpPr>
            <p:cNvPr id="29" name="Freihandform: Form 28"/>
            <p:cNvSpPr/>
            <p:nvPr userDrawn="1"/>
          </p:nvSpPr>
          <p:spPr bwMode="gray">
            <a:xfrm rot="16200000">
              <a:off x="-95392" y="6111304"/>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30" name="Freihandform: Form 29"/>
            <p:cNvSpPr/>
            <p:nvPr userDrawn="1"/>
          </p:nvSpPr>
          <p:spPr bwMode="gray">
            <a:xfrm rot="16200000">
              <a:off x="-95393" y="1610804"/>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grpSp>
      <p:sp>
        <p:nvSpPr>
          <p:cNvPr id="36" name="Bildplatzhalter 35"/>
          <p:cNvSpPr>
            <a:spLocks noGrp="1"/>
          </p:cNvSpPr>
          <p:nvPr>
            <p:ph type="pic" sz="quarter" idx="18"/>
          </p:nvPr>
        </p:nvSpPr>
        <p:spPr bwMode="gray">
          <a:xfrm>
            <a:off x="7779549" y="0"/>
            <a:ext cx="4412451" cy="6858000"/>
          </a:xfrm>
          <a:custGeom>
            <a:avLst/>
            <a:gdLst>
              <a:gd name="connsiteX0" fmla="*/ 0 w 4412451"/>
              <a:gd name="connsiteY0" fmla="*/ 6373899 h 6858000"/>
              <a:gd name="connsiteX1" fmla="*/ 2957220 w 4412451"/>
              <a:gd name="connsiteY1" fmla="*/ 6373899 h 6858000"/>
              <a:gd name="connsiteX2" fmla="*/ 3056055 w 4412451"/>
              <a:gd name="connsiteY2" fmla="*/ 6521252 h 6858000"/>
              <a:gd name="connsiteX3" fmla="*/ 3170767 w 4412451"/>
              <a:gd name="connsiteY3" fmla="*/ 6717625 h 6858000"/>
              <a:gd name="connsiteX4" fmla="*/ 3238372 w 4412451"/>
              <a:gd name="connsiteY4" fmla="*/ 6858000 h 6858000"/>
              <a:gd name="connsiteX5" fmla="*/ 0 w 4412451"/>
              <a:gd name="connsiteY5" fmla="*/ 6858000 h 6858000"/>
              <a:gd name="connsiteX6" fmla="*/ 0 w 4412451"/>
              <a:gd name="connsiteY6" fmla="*/ 4806776 h 6858000"/>
              <a:gd name="connsiteX7" fmla="*/ 216478 w 4412451"/>
              <a:gd name="connsiteY7" fmla="*/ 4814300 h 6858000"/>
              <a:gd name="connsiteX8" fmla="*/ 2929724 w 4412451"/>
              <a:gd name="connsiteY8" fmla="*/ 6332906 h 6858000"/>
              <a:gd name="connsiteX9" fmla="*/ 2949976 w 4412451"/>
              <a:gd name="connsiteY9" fmla="*/ 6363099 h 6858000"/>
              <a:gd name="connsiteX10" fmla="*/ 0 w 4412451"/>
              <a:gd name="connsiteY10" fmla="*/ 6363099 h 6858000"/>
              <a:gd name="connsiteX11" fmla="*/ 0 w 4412451"/>
              <a:gd name="connsiteY11" fmla="*/ 0 h 6858000"/>
              <a:gd name="connsiteX12" fmla="*/ 4412451 w 4412451"/>
              <a:gd name="connsiteY12" fmla="*/ 0 h 6858000"/>
              <a:gd name="connsiteX13" fmla="*/ 4412451 w 4412451"/>
              <a:gd name="connsiteY13" fmla="*/ 6858000 h 6858000"/>
              <a:gd name="connsiteX14" fmla="*/ 3302920 w 4412451"/>
              <a:gd name="connsiteY14" fmla="*/ 6858000 h 6858000"/>
              <a:gd name="connsiteX15" fmla="*/ 3300103 w 4412451"/>
              <a:gd name="connsiteY15" fmla="*/ 6851767 h 6858000"/>
              <a:gd name="connsiteX16" fmla="*/ 3062677 w 4412451"/>
              <a:gd name="connsiteY16" fmla="*/ 6431473 h 6858000"/>
              <a:gd name="connsiteX17" fmla="*/ 3022289 w 4412451"/>
              <a:gd name="connsiteY17" fmla="*/ 6373899 h 6858000"/>
              <a:gd name="connsiteX18" fmla="*/ 3967951 w 4412451"/>
              <a:gd name="connsiteY18" fmla="*/ 6373899 h 6858000"/>
              <a:gd name="connsiteX19" fmla="*/ 3967951 w 4412451"/>
              <a:gd name="connsiteY19" fmla="*/ 6363099 h 6858000"/>
              <a:gd name="connsiteX20" fmla="*/ 3014713 w 4412451"/>
              <a:gd name="connsiteY20" fmla="*/ 6363099 h 6858000"/>
              <a:gd name="connsiteX21" fmla="*/ 2924608 w 4412451"/>
              <a:gd name="connsiteY21" fmla="*/ 6234654 h 6858000"/>
              <a:gd name="connsiteX22" fmla="*/ 232071 w 4412451"/>
              <a:gd name="connsiteY22" fmla="*/ 4761273 h 6858000"/>
              <a:gd name="connsiteX23" fmla="*/ 0 w 4412451"/>
              <a:gd name="connsiteY23" fmla="*/ 475284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12451" h="6858000">
                <a:moveTo>
                  <a:pt x="0" y="6373899"/>
                </a:moveTo>
                <a:lnTo>
                  <a:pt x="2957220" y="6373899"/>
                </a:lnTo>
                <a:lnTo>
                  <a:pt x="3056055" y="6521252"/>
                </a:lnTo>
                <a:cubicBezTo>
                  <a:pt x="3096256" y="6585399"/>
                  <a:pt x="3134521" y="6650884"/>
                  <a:pt x="3170767" y="6717625"/>
                </a:cubicBezTo>
                <a:lnTo>
                  <a:pt x="3238372" y="6858000"/>
                </a:lnTo>
                <a:lnTo>
                  <a:pt x="0" y="6858000"/>
                </a:lnTo>
                <a:close/>
                <a:moveTo>
                  <a:pt x="0" y="4806776"/>
                </a:moveTo>
                <a:lnTo>
                  <a:pt x="216478" y="4814300"/>
                </a:lnTo>
                <a:cubicBezTo>
                  <a:pt x="1334471" y="4892283"/>
                  <a:pt x="2313836" y="5473453"/>
                  <a:pt x="2929724" y="6332906"/>
                </a:cubicBezTo>
                <a:lnTo>
                  <a:pt x="2949976" y="6363099"/>
                </a:lnTo>
                <a:lnTo>
                  <a:pt x="0" y="6363099"/>
                </a:lnTo>
                <a:close/>
                <a:moveTo>
                  <a:pt x="0" y="0"/>
                </a:moveTo>
                <a:lnTo>
                  <a:pt x="4412451" y="0"/>
                </a:lnTo>
                <a:lnTo>
                  <a:pt x="4412451" y="6858000"/>
                </a:lnTo>
                <a:lnTo>
                  <a:pt x="3302920" y="6858000"/>
                </a:lnTo>
                <a:lnTo>
                  <a:pt x="3300103" y="6851767"/>
                </a:lnTo>
                <a:cubicBezTo>
                  <a:pt x="3229944" y="6706126"/>
                  <a:pt x="3150549" y="6565775"/>
                  <a:pt x="3062677" y="6431473"/>
                </a:cubicBezTo>
                <a:lnTo>
                  <a:pt x="3022289" y="6373899"/>
                </a:lnTo>
                <a:lnTo>
                  <a:pt x="3967951" y="6373899"/>
                </a:lnTo>
                <a:lnTo>
                  <a:pt x="3967951" y="6363099"/>
                </a:lnTo>
                <a:lnTo>
                  <a:pt x="3014713" y="6363099"/>
                </a:lnTo>
                <a:lnTo>
                  <a:pt x="2924608" y="6234654"/>
                </a:lnTo>
                <a:cubicBezTo>
                  <a:pt x="2299581" y="5402254"/>
                  <a:pt x="1332486" y="4841526"/>
                  <a:pt x="232071" y="4761273"/>
                </a:cubicBezTo>
                <a:lnTo>
                  <a:pt x="0" y="4752842"/>
                </a:lnTo>
                <a:close/>
              </a:path>
            </a:pathLst>
          </a:custGeom>
          <a:noFill/>
        </p:spPr>
        <p:txBody>
          <a:bodyPr wrap="square" tIns="72000">
            <a:noAutofit/>
          </a:bodyPr>
          <a:lstStyle>
            <a:lvl1pPr algn="ctr">
              <a:defRPr b="0">
                <a:solidFill>
                  <a:schemeClr val="tx1"/>
                </a:solidFill>
              </a:defRPr>
            </a:lvl1pPr>
          </a:lstStyle>
          <a:p>
            <a:endParaRPr lang="de-DE" noProof="0" dirty="0"/>
          </a:p>
        </p:txBody>
      </p:sp>
      <p:sp>
        <p:nvSpPr>
          <p:cNvPr id="32" name="Rechteck 31"/>
          <p:cNvSpPr/>
          <p:nvPr userDrawn="1"/>
        </p:nvSpPr>
        <p:spPr bwMode="gray">
          <a:xfrm>
            <a:off x="7724239" y="0"/>
            <a:ext cx="5398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33" name="Freihandform: Form 32"/>
          <p:cNvSpPr>
            <a:spLocks noChangeAspect="1"/>
          </p:cNvSpPr>
          <p:nvPr userDrawn="1"/>
        </p:nvSpPr>
        <p:spPr bwMode="gray">
          <a:xfrm>
            <a:off x="4393872" y="4751338"/>
            <a:ext cx="6688596" cy="2106662"/>
          </a:xfrm>
          <a:custGeom>
            <a:avLst/>
            <a:gdLst>
              <a:gd name="connsiteX0" fmla="*/ 3345169 w 6690338"/>
              <a:gd name="connsiteY0" fmla="*/ 0 h 2106662"/>
              <a:gd name="connsiteX1" fmla="*/ 6687520 w 6690338"/>
              <a:gd name="connsiteY1" fmla="*/ 2100429 h 2106662"/>
              <a:gd name="connsiteX2" fmla="*/ 6690338 w 6690338"/>
              <a:gd name="connsiteY2" fmla="*/ 2106662 h 2106662"/>
              <a:gd name="connsiteX3" fmla="*/ 6625773 w 6690338"/>
              <a:gd name="connsiteY3" fmla="*/ 2106662 h 2106662"/>
              <a:gd name="connsiteX4" fmla="*/ 6558151 w 6690338"/>
              <a:gd name="connsiteY4" fmla="*/ 1966287 h 2106662"/>
              <a:gd name="connsiteX5" fmla="*/ 3345169 w 6690338"/>
              <a:gd name="connsiteY5" fmla="*/ 54000 h 2106662"/>
              <a:gd name="connsiteX6" fmla="*/ 132188 w 6690338"/>
              <a:gd name="connsiteY6" fmla="*/ 1966287 h 2106662"/>
              <a:gd name="connsiteX7" fmla="*/ 64565 w 6690338"/>
              <a:gd name="connsiteY7" fmla="*/ 2106662 h 2106662"/>
              <a:gd name="connsiteX8" fmla="*/ 0 w 6690338"/>
              <a:gd name="connsiteY8" fmla="*/ 2106662 h 2106662"/>
              <a:gd name="connsiteX9" fmla="*/ 2818 w 6690338"/>
              <a:gd name="connsiteY9" fmla="*/ 2100429 h 2106662"/>
              <a:gd name="connsiteX10" fmla="*/ 3345169 w 6690338"/>
              <a:gd name="connsiteY10" fmla="*/ 0 h 2106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90338" h="2106662">
                <a:moveTo>
                  <a:pt x="3345169" y="0"/>
                </a:moveTo>
                <a:cubicBezTo>
                  <a:pt x="4817077" y="0"/>
                  <a:pt x="6088676" y="857625"/>
                  <a:pt x="6687520" y="2100429"/>
                </a:cubicBezTo>
                <a:lnTo>
                  <a:pt x="6690338" y="2106662"/>
                </a:lnTo>
                <a:lnTo>
                  <a:pt x="6625773" y="2106662"/>
                </a:lnTo>
                <a:lnTo>
                  <a:pt x="6558151" y="1966287"/>
                </a:lnTo>
                <a:cubicBezTo>
                  <a:pt x="5939385" y="827243"/>
                  <a:pt x="4732577" y="54000"/>
                  <a:pt x="3345169" y="54000"/>
                </a:cubicBezTo>
                <a:cubicBezTo>
                  <a:pt x="1957761" y="54000"/>
                  <a:pt x="750953" y="827243"/>
                  <a:pt x="132188" y="1966287"/>
                </a:cubicBezTo>
                <a:lnTo>
                  <a:pt x="64565" y="2106662"/>
                </a:lnTo>
                <a:lnTo>
                  <a:pt x="0" y="2106662"/>
                </a:lnTo>
                <a:lnTo>
                  <a:pt x="2818" y="2100429"/>
                </a:lnTo>
                <a:cubicBezTo>
                  <a:pt x="601663" y="857625"/>
                  <a:pt x="1873261" y="0"/>
                  <a:pt x="3345169"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34" name="Rechteck 33"/>
          <p:cNvSpPr/>
          <p:nvPr userDrawn="1"/>
        </p:nvSpPr>
        <p:spPr>
          <a:xfrm>
            <a:off x="442913" y="6363099"/>
            <a:ext cx="11304587" cy="1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lnSpc>
                <a:spcPts val="2000"/>
              </a:lnSpc>
              <a:spcBef>
                <a:spcPts val="400"/>
              </a:spcBef>
              <a:buClr>
                <a:schemeClr val="bg1"/>
              </a:buClr>
              <a:buFont typeface="DFB Sans Ofc" panose="020B0503030500020204"/>
              <a:buChar char="›"/>
            </a:pPr>
            <a:endParaRPr lang="de-DE" sz="1600" dirty="0"/>
          </a:p>
        </p:txBody>
      </p:sp>
    </p:spTree>
    <p:extLst>
      <p:ext uri="{BB962C8B-B14F-4D97-AF65-F5344CB8AC3E}">
        <p14:creationId xmlns:p14="http://schemas.microsoft.com/office/powerpoint/2010/main" val="21440587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p:nvPr>
        </p:nvSpPr>
        <p:spPr bwMode="gray">
          <a:xfrm>
            <a:off x="444843" y="712800"/>
            <a:ext cx="10113366" cy="743793"/>
          </a:xfrm>
        </p:spPr>
        <p:txBody>
          <a:bodyPr/>
          <a:lstStyle/>
          <a:p>
            <a:r>
              <a:rPr lang="de-DE" noProof="0" dirty="0"/>
              <a:t>Titelmasterformat durch Klicken bearbeiten</a:t>
            </a:r>
          </a:p>
        </p:txBody>
      </p:sp>
      <p:sp>
        <p:nvSpPr>
          <p:cNvPr id="4" name="Datumsplatzhalter 3"/>
          <p:cNvSpPr>
            <a:spLocks noGrp="1"/>
          </p:cNvSpPr>
          <p:nvPr>
            <p:ph type="dt" sz="half" idx="10"/>
          </p:nvPr>
        </p:nvSpPr>
        <p:spPr bwMode="gray"/>
        <p:txBody>
          <a:bodyPr/>
          <a:lstStyle/>
          <a:p>
            <a:fld id="{C5293E3B-819C-4822-B85F-53FD541430B7}" type="datetime1">
              <a:rPr lang="de-DE" noProof="0" smtClean="0"/>
              <a:t>08.01.2022</a:t>
            </a:fld>
            <a:endParaRPr lang="de-DE" noProof="0" dirty="0"/>
          </a:p>
        </p:txBody>
      </p:sp>
      <p:sp>
        <p:nvSpPr>
          <p:cNvPr id="5" name="Fußzeilenplatzhalter 4"/>
          <p:cNvSpPr>
            <a:spLocks noGrp="1"/>
          </p:cNvSpPr>
          <p:nvPr>
            <p:ph type="ftr" sz="quarter" idx="11"/>
          </p:nvPr>
        </p:nvSpPr>
        <p:spPr bwMode="gray"/>
        <p:txBody>
          <a:bodyPr/>
          <a:lstStyle/>
          <a:p>
            <a:r>
              <a:rPr lang="de-DE" noProof="0" dirty="0"/>
              <a:t>/  Styleguide, Musterfolien für Präsentationen</a:t>
            </a:r>
          </a:p>
        </p:txBody>
      </p:sp>
      <p:sp>
        <p:nvSpPr>
          <p:cNvPr id="6" name="Foliennummernplatzhalter 5"/>
          <p:cNvSpPr>
            <a:spLocks noGrp="1"/>
          </p:cNvSpPr>
          <p:nvPr>
            <p:ph type="sldNum" sz="quarter" idx="12"/>
          </p:nvPr>
        </p:nvSpPr>
        <p:spPr bwMode="gray"/>
        <p:txBody>
          <a:bodyPr/>
          <a:lstStyle/>
          <a:p>
            <a:r>
              <a:rPr lang="de-DE" noProof="0" dirty="0"/>
              <a:t>Seite </a:t>
            </a:r>
            <a:fld id="{105F6080-11B6-4F5B-BFCF-ADAD48E4948B}" type="slidenum">
              <a:rPr lang="de-DE" noProof="0" smtClean="0"/>
              <a:pPr/>
              <a:t>‹Nr.›</a:t>
            </a:fld>
            <a:endParaRPr lang="de-DE" noProof="0" dirty="0"/>
          </a:p>
        </p:txBody>
      </p:sp>
      <p:sp>
        <p:nvSpPr>
          <p:cNvPr id="9" name="Textplatzhalter 8"/>
          <p:cNvSpPr>
            <a:spLocks noGrp="1"/>
          </p:cNvSpPr>
          <p:nvPr>
            <p:ph type="body" sz="quarter" idx="13"/>
          </p:nvPr>
        </p:nvSpPr>
        <p:spPr bwMode="gray">
          <a:xfrm>
            <a:off x="444843" y="1616401"/>
            <a:ext cx="11301057" cy="615553"/>
          </a:xfrm>
        </p:spPr>
        <p:txBody>
          <a:bodyPr/>
          <a:lstStyle>
            <a:lvl1pPr marL="269794" indent="-269794">
              <a:buFont typeface="+mj-lt"/>
              <a:buAutoNum type="arabicPeriod"/>
              <a:defRPr/>
            </a:lvl1pPr>
            <a:lvl2pPr marL="269794" indent="0">
              <a:defRPr/>
            </a:lvl2pPr>
          </a:lstStyle>
          <a:p>
            <a:pPr lvl="0"/>
            <a:r>
              <a:rPr lang="de-DE" noProof="0" dirty="0"/>
              <a:t>Formatvorlagen des Textmasters bearbeiten</a:t>
            </a:r>
          </a:p>
          <a:p>
            <a:pPr lvl="1"/>
            <a:r>
              <a:rPr lang="de-DE" noProof="0" dirty="0"/>
              <a:t>Zweite Ebene</a:t>
            </a:r>
          </a:p>
        </p:txBody>
      </p:sp>
      <p:sp>
        <p:nvSpPr>
          <p:cNvPr id="8" name="Textplatzhalter 13"/>
          <p:cNvSpPr>
            <a:spLocks noGrp="1"/>
          </p:cNvSpPr>
          <p:nvPr>
            <p:ph type="body" sz="quarter" idx="16" hasCustomPrompt="1"/>
          </p:nvPr>
        </p:nvSpPr>
        <p:spPr>
          <a:xfrm>
            <a:off x="444843" y="433236"/>
            <a:ext cx="10114504" cy="184666"/>
          </a:xfrm>
        </p:spPr>
        <p:txBody>
          <a:bodyPr/>
          <a:lstStyle>
            <a:lvl1pPr>
              <a:lnSpc>
                <a:spcPct val="100000"/>
              </a:lnSpc>
              <a:spcBef>
                <a:spcPts val="0"/>
              </a:spcBef>
              <a:defRPr sz="1200" b="1" u="sng" cap="all" spc="190" baseline="0">
                <a:solidFill>
                  <a:schemeClr val="tx1"/>
                </a:solidFill>
                <a:uFill>
                  <a:solidFill>
                    <a:schemeClr val="accent2"/>
                  </a:solidFill>
                </a:uFill>
              </a:defRPr>
            </a:lvl1pPr>
          </a:lstStyle>
          <a:p>
            <a:pPr lvl="0"/>
            <a:r>
              <a:rPr lang="de-DE" dirty="0"/>
              <a:t>headline</a:t>
            </a:r>
          </a:p>
        </p:txBody>
      </p:sp>
    </p:spTree>
    <p:extLst>
      <p:ext uri="{BB962C8B-B14F-4D97-AF65-F5344CB8AC3E}">
        <p14:creationId xmlns:p14="http://schemas.microsoft.com/office/powerpoint/2010/main" val="7350626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bwMode="gray">
          <a:xfrm>
            <a:off x="446284" y="712800"/>
            <a:ext cx="10113366" cy="743793"/>
          </a:xfrm>
        </p:spPr>
        <p:txBody>
          <a:bodyPr/>
          <a:lstStyle/>
          <a:p>
            <a:r>
              <a:rPr lang="de-DE" noProof="0" dirty="0"/>
              <a:t>Titelmasterformat durch Klicken bearbeiten</a:t>
            </a:r>
          </a:p>
        </p:txBody>
      </p:sp>
      <p:sp>
        <p:nvSpPr>
          <p:cNvPr id="3" name="Inhaltsplatzhalter 2"/>
          <p:cNvSpPr>
            <a:spLocks noGrp="1"/>
          </p:cNvSpPr>
          <p:nvPr>
            <p:ph idx="1"/>
          </p:nvPr>
        </p:nvSpPr>
        <p:spPr bwMode="gray">
          <a:xfrm>
            <a:off x="446284" y="1616607"/>
            <a:ext cx="11301057" cy="1641475"/>
          </a:xfrm>
        </p:spPr>
        <p:txBody>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4" name="Datumsplatzhalter 3"/>
          <p:cNvSpPr>
            <a:spLocks noGrp="1"/>
          </p:cNvSpPr>
          <p:nvPr>
            <p:ph type="dt" sz="half" idx="10"/>
          </p:nvPr>
        </p:nvSpPr>
        <p:spPr bwMode="gray"/>
        <p:txBody>
          <a:bodyPr/>
          <a:lstStyle/>
          <a:p>
            <a:fld id="{A4578BCA-74A2-453D-AAE6-F41C98EAC24F}" type="datetime1">
              <a:rPr lang="de-DE" noProof="0" smtClean="0"/>
              <a:t>08.01.2022</a:t>
            </a:fld>
            <a:endParaRPr lang="de-DE" noProof="0" dirty="0"/>
          </a:p>
        </p:txBody>
      </p:sp>
      <p:sp>
        <p:nvSpPr>
          <p:cNvPr id="5" name="Fußzeilenplatzhalter 4"/>
          <p:cNvSpPr>
            <a:spLocks noGrp="1"/>
          </p:cNvSpPr>
          <p:nvPr>
            <p:ph type="ftr" sz="quarter" idx="11"/>
          </p:nvPr>
        </p:nvSpPr>
        <p:spPr bwMode="gray"/>
        <p:txBody>
          <a:bodyPr/>
          <a:lstStyle/>
          <a:p>
            <a:r>
              <a:rPr lang="de-DE" noProof="0" dirty="0"/>
              <a:t>/  Styleguide, Musterfolien für Präsentationen</a:t>
            </a:r>
          </a:p>
        </p:txBody>
      </p:sp>
      <p:sp>
        <p:nvSpPr>
          <p:cNvPr id="6" name="Foliennummernplatzhalter 5"/>
          <p:cNvSpPr>
            <a:spLocks noGrp="1"/>
          </p:cNvSpPr>
          <p:nvPr>
            <p:ph type="sldNum" sz="quarter" idx="12"/>
          </p:nvPr>
        </p:nvSpPr>
        <p:spPr bwMode="gray"/>
        <p:txBody>
          <a:bodyPr/>
          <a:lstStyle/>
          <a:p>
            <a:r>
              <a:rPr lang="de-DE" noProof="0" dirty="0"/>
              <a:t>Seite </a:t>
            </a:r>
            <a:fld id="{105F6080-11B6-4F5B-BFCF-ADAD48E4948B}" type="slidenum">
              <a:rPr lang="de-DE" noProof="0" smtClean="0"/>
              <a:pPr/>
              <a:t>‹Nr.›</a:t>
            </a:fld>
            <a:endParaRPr lang="de-DE" noProof="0" dirty="0"/>
          </a:p>
        </p:txBody>
      </p:sp>
      <p:sp>
        <p:nvSpPr>
          <p:cNvPr id="8" name="Textplatzhalter 13"/>
          <p:cNvSpPr>
            <a:spLocks noGrp="1"/>
          </p:cNvSpPr>
          <p:nvPr>
            <p:ph type="body" sz="quarter" idx="16" hasCustomPrompt="1"/>
          </p:nvPr>
        </p:nvSpPr>
        <p:spPr>
          <a:xfrm>
            <a:off x="444843" y="432000"/>
            <a:ext cx="10114504" cy="184666"/>
          </a:xfrm>
        </p:spPr>
        <p:txBody>
          <a:bodyPr/>
          <a:lstStyle>
            <a:lvl1pPr>
              <a:lnSpc>
                <a:spcPct val="100000"/>
              </a:lnSpc>
              <a:spcBef>
                <a:spcPts val="0"/>
              </a:spcBef>
              <a:defRPr sz="1200" b="1" u="sng" cap="all" spc="190" baseline="0">
                <a:solidFill>
                  <a:schemeClr val="tx1"/>
                </a:solidFill>
                <a:uFill>
                  <a:solidFill>
                    <a:schemeClr val="accent2"/>
                  </a:solidFill>
                </a:uFill>
              </a:defRPr>
            </a:lvl1pPr>
          </a:lstStyle>
          <a:p>
            <a:pPr lvl="0"/>
            <a:r>
              <a:rPr lang="de-DE" dirty="0"/>
              <a:t>headline</a:t>
            </a:r>
          </a:p>
        </p:txBody>
      </p:sp>
    </p:spTree>
    <p:extLst>
      <p:ext uri="{BB962C8B-B14F-4D97-AF65-F5344CB8AC3E}">
        <p14:creationId xmlns:p14="http://schemas.microsoft.com/office/powerpoint/2010/main" val="12333860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agramm und Text">
    <p:spTree>
      <p:nvGrpSpPr>
        <p:cNvPr id="1" name=""/>
        <p:cNvGrpSpPr/>
        <p:nvPr/>
      </p:nvGrpSpPr>
      <p:grpSpPr>
        <a:xfrm>
          <a:off x="0" y="0"/>
          <a:ext cx="0" cy="0"/>
          <a:chOff x="0" y="0"/>
          <a:chExt cx="0" cy="0"/>
        </a:xfrm>
      </p:grpSpPr>
      <p:sp>
        <p:nvSpPr>
          <p:cNvPr id="2" name="Titel 1"/>
          <p:cNvSpPr>
            <a:spLocks noGrp="1"/>
          </p:cNvSpPr>
          <p:nvPr>
            <p:ph type="title"/>
          </p:nvPr>
        </p:nvSpPr>
        <p:spPr bwMode="gray">
          <a:xfrm>
            <a:off x="444843" y="712800"/>
            <a:ext cx="10113366" cy="743793"/>
          </a:xfrm>
        </p:spPr>
        <p:txBody>
          <a:bodyPr/>
          <a:lstStyle/>
          <a:p>
            <a:r>
              <a:rPr lang="de-DE" noProof="0" dirty="0"/>
              <a:t>Titelmasterformat durch Klicken bearbeiten</a:t>
            </a:r>
          </a:p>
        </p:txBody>
      </p:sp>
      <p:sp>
        <p:nvSpPr>
          <p:cNvPr id="4" name="Datumsplatzhalter 3"/>
          <p:cNvSpPr>
            <a:spLocks noGrp="1"/>
          </p:cNvSpPr>
          <p:nvPr>
            <p:ph type="dt" sz="half" idx="10"/>
          </p:nvPr>
        </p:nvSpPr>
        <p:spPr bwMode="gray"/>
        <p:txBody>
          <a:bodyPr/>
          <a:lstStyle/>
          <a:p>
            <a:fld id="{B64CC23D-F9AF-4F67-B68D-5A257C4C769A}" type="datetime1">
              <a:rPr lang="de-DE" noProof="0" smtClean="0"/>
              <a:t>08.01.2022</a:t>
            </a:fld>
            <a:endParaRPr lang="de-DE" noProof="0" dirty="0"/>
          </a:p>
        </p:txBody>
      </p:sp>
      <p:sp>
        <p:nvSpPr>
          <p:cNvPr id="5" name="Fußzeilenplatzhalter 4"/>
          <p:cNvSpPr>
            <a:spLocks noGrp="1"/>
          </p:cNvSpPr>
          <p:nvPr>
            <p:ph type="ftr" sz="quarter" idx="11"/>
          </p:nvPr>
        </p:nvSpPr>
        <p:spPr bwMode="gray"/>
        <p:txBody>
          <a:bodyPr/>
          <a:lstStyle/>
          <a:p>
            <a:r>
              <a:rPr lang="de-DE" noProof="0" dirty="0"/>
              <a:t>/  Styleguide, Musterfolien für Präsentationen</a:t>
            </a:r>
          </a:p>
        </p:txBody>
      </p:sp>
      <p:sp>
        <p:nvSpPr>
          <p:cNvPr id="6" name="Foliennummernplatzhalter 5"/>
          <p:cNvSpPr>
            <a:spLocks noGrp="1"/>
          </p:cNvSpPr>
          <p:nvPr>
            <p:ph type="sldNum" sz="quarter" idx="12"/>
          </p:nvPr>
        </p:nvSpPr>
        <p:spPr bwMode="gray"/>
        <p:txBody>
          <a:bodyPr/>
          <a:lstStyle/>
          <a:p>
            <a:r>
              <a:rPr lang="de-DE" noProof="0" dirty="0"/>
              <a:t>Seite </a:t>
            </a:r>
            <a:fld id="{105F6080-11B6-4F5B-BFCF-ADAD48E4948B}" type="slidenum">
              <a:rPr lang="de-DE" noProof="0" smtClean="0"/>
              <a:pPr/>
              <a:t>‹Nr.›</a:t>
            </a:fld>
            <a:endParaRPr lang="de-DE" noProof="0" dirty="0"/>
          </a:p>
        </p:txBody>
      </p:sp>
      <p:sp>
        <p:nvSpPr>
          <p:cNvPr id="10" name="Textplatzhalter 8"/>
          <p:cNvSpPr>
            <a:spLocks noGrp="1"/>
          </p:cNvSpPr>
          <p:nvPr>
            <p:ph type="body" sz="quarter" idx="16"/>
          </p:nvPr>
        </p:nvSpPr>
        <p:spPr bwMode="gray">
          <a:xfrm>
            <a:off x="444843" y="1616606"/>
            <a:ext cx="5506732" cy="256480"/>
          </a:xfrm>
        </p:spPr>
        <p:txBody>
          <a:bodyPr/>
          <a:lstStyle>
            <a:lvl1pPr>
              <a:spcBef>
                <a:spcPts val="0"/>
              </a:spcBef>
              <a:defRPr/>
            </a:lvl1pPr>
          </a:lstStyle>
          <a:p>
            <a:pPr lvl="0"/>
            <a:r>
              <a:rPr lang="de-DE" noProof="0" dirty="0"/>
              <a:t>Formatvorlagen des Textmasters bearbeiten</a:t>
            </a:r>
          </a:p>
        </p:txBody>
      </p:sp>
      <p:sp>
        <p:nvSpPr>
          <p:cNvPr id="11" name="Textplatzhalter 8"/>
          <p:cNvSpPr>
            <a:spLocks noGrp="1"/>
          </p:cNvSpPr>
          <p:nvPr>
            <p:ph type="body" sz="quarter" idx="17"/>
          </p:nvPr>
        </p:nvSpPr>
        <p:spPr bwMode="gray">
          <a:xfrm>
            <a:off x="444843" y="1972173"/>
            <a:ext cx="5506732" cy="256480"/>
          </a:xfrm>
        </p:spPr>
        <p:txBody>
          <a:bodyPr/>
          <a:lstStyle>
            <a:lvl1pPr>
              <a:spcBef>
                <a:spcPts val="0"/>
              </a:spcBef>
              <a:defRPr b="0">
                <a:solidFill>
                  <a:schemeClr val="tx1"/>
                </a:solidFill>
              </a:defRPr>
            </a:lvl1pPr>
          </a:lstStyle>
          <a:p>
            <a:pPr lvl="0"/>
            <a:r>
              <a:rPr lang="de-DE" noProof="0" dirty="0"/>
              <a:t>Formatvorlagen des Textmasters bearbeiten</a:t>
            </a:r>
          </a:p>
        </p:txBody>
      </p:sp>
      <p:sp>
        <p:nvSpPr>
          <p:cNvPr id="12" name="Textplatzhalter 8"/>
          <p:cNvSpPr>
            <a:spLocks noGrp="1"/>
          </p:cNvSpPr>
          <p:nvPr>
            <p:ph type="body" sz="quarter" idx="18"/>
          </p:nvPr>
        </p:nvSpPr>
        <p:spPr bwMode="gray">
          <a:xfrm>
            <a:off x="444843" y="6066293"/>
            <a:ext cx="11301057" cy="123111"/>
          </a:xfrm>
        </p:spPr>
        <p:txBody>
          <a:bodyPr anchor="b" anchorCtr="0"/>
          <a:lstStyle>
            <a:lvl1pPr>
              <a:lnSpc>
                <a:spcPct val="100000"/>
              </a:lnSpc>
              <a:spcBef>
                <a:spcPts val="0"/>
              </a:spcBef>
              <a:defRPr sz="800" b="0">
                <a:solidFill>
                  <a:schemeClr val="tx1"/>
                </a:solidFill>
              </a:defRPr>
            </a:lvl1pPr>
          </a:lstStyle>
          <a:p>
            <a:pPr lvl="0"/>
            <a:r>
              <a:rPr lang="de-DE" noProof="0" dirty="0"/>
              <a:t>Formatvorlagen des Textmasters bearbeiten</a:t>
            </a:r>
          </a:p>
        </p:txBody>
      </p:sp>
      <p:sp>
        <p:nvSpPr>
          <p:cNvPr id="16" name="Diagrammplatzhalter 15"/>
          <p:cNvSpPr>
            <a:spLocks noGrp="1"/>
          </p:cNvSpPr>
          <p:nvPr>
            <p:ph type="chart" sz="quarter" idx="19"/>
          </p:nvPr>
        </p:nvSpPr>
        <p:spPr bwMode="gray">
          <a:xfrm>
            <a:off x="444843" y="2349500"/>
            <a:ext cx="5506732" cy="3635375"/>
          </a:xfrm>
        </p:spPr>
        <p:txBody>
          <a:bodyPr tIns="72000">
            <a:noAutofit/>
          </a:bodyPr>
          <a:lstStyle>
            <a:lvl1pPr algn="ctr">
              <a:lnSpc>
                <a:spcPct val="100000"/>
              </a:lnSpc>
              <a:spcBef>
                <a:spcPts val="0"/>
              </a:spcBef>
              <a:defRPr b="0">
                <a:solidFill>
                  <a:schemeClr val="tx1"/>
                </a:solidFill>
              </a:defRPr>
            </a:lvl1pPr>
          </a:lstStyle>
          <a:p>
            <a:endParaRPr lang="de-DE" noProof="0" dirty="0"/>
          </a:p>
        </p:txBody>
      </p:sp>
      <p:sp>
        <p:nvSpPr>
          <p:cNvPr id="13" name="Textplatzhalter 8"/>
          <p:cNvSpPr>
            <a:spLocks noGrp="1"/>
          </p:cNvSpPr>
          <p:nvPr>
            <p:ph type="body" sz="quarter" idx="20"/>
          </p:nvPr>
        </p:nvSpPr>
        <p:spPr bwMode="gray">
          <a:xfrm>
            <a:off x="6250554" y="2349500"/>
            <a:ext cx="5506566" cy="192360"/>
          </a:xfrm>
        </p:spPr>
        <p:txBody>
          <a:bodyPr anchor="t" anchorCtr="0"/>
          <a:lstStyle>
            <a:lvl1pPr>
              <a:lnSpc>
                <a:spcPts val="1500"/>
              </a:lnSpc>
              <a:spcBef>
                <a:spcPts val="0"/>
              </a:spcBef>
              <a:defRPr sz="1200" b="0">
                <a:solidFill>
                  <a:schemeClr val="tx1"/>
                </a:solidFill>
              </a:defRPr>
            </a:lvl1pPr>
          </a:lstStyle>
          <a:p>
            <a:pPr lvl="0"/>
            <a:r>
              <a:rPr lang="de-DE" noProof="0" dirty="0"/>
              <a:t>Formatvorlagen des Textmasters bearbeiten</a:t>
            </a:r>
          </a:p>
        </p:txBody>
      </p:sp>
      <p:sp>
        <p:nvSpPr>
          <p:cNvPr id="14" name="Textplatzhalter 13"/>
          <p:cNvSpPr>
            <a:spLocks noGrp="1"/>
          </p:cNvSpPr>
          <p:nvPr>
            <p:ph type="body" sz="quarter" idx="21" hasCustomPrompt="1"/>
          </p:nvPr>
        </p:nvSpPr>
        <p:spPr>
          <a:xfrm>
            <a:off x="444843" y="432000"/>
            <a:ext cx="10114504" cy="184666"/>
          </a:xfrm>
        </p:spPr>
        <p:txBody>
          <a:bodyPr/>
          <a:lstStyle>
            <a:lvl1pPr>
              <a:lnSpc>
                <a:spcPct val="100000"/>
              </a:lnSpc>
              <a:spcBef>
                <a:spcPts val="0"/>
              </a:spcBef>
              <a:defRPr sz="1200" b="1" u="sng" cap="all" spc="190" baseline="0">
                <a:solidFill>
                  <a:schemeClr val="tx1"/>
                </a:solidFill>
                <a:uFill>
                  <a:solidFill>
                    <a:schemeClr val="accent2"/>
                  </a:solidFill>
                </a:uFill>
              </a:defRPr>
            </a:lvl1pPr>
          </a:lstStyle>
          <a:p>
            <a:pPr lvl="0"/>
            <a:r>
              <a:rPr lang="de-DE" dirty="0"/>
              <a:t>headline</a:t>
            </a:r>
          </a:p>
        </p:txBody>
      </p:sp>
    </p:spTree>
    <p:extLst>
      <p:ext uri="{BB962C8B-B14F-4D97-AF65-F5344CB8AC3E}">
        <p14:creationId xmlns:p14="http://schemas.microsoft.com/office/powerpoint/2010/main" val="10217216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Bild">
    <p:spTree>
      <p:nvGrpSpPr>
        <p:cNvPr id="1" name=""/>
        <p:cNvGrpSpPr/>
        <p:nvPr/>
      </p:nvGrpSpPr>
      <p:grpSpPr>
        <a:xfrm>
          <a:off x="0" y="0"/>
          <a:ext cx="0" cy="0"/>
          <a:chOff x="0" y="0"/>
          <a:chExt cx="0" cy="0"/>
        </a:xfrm>
      </p:grpSpPr>
      <p:sp>
        <p:nvSpPr>
          <p:cNvPr id="2" name="Titel 1"/>
          <p:cNvSpPr>
            <a:spLocks noGrp="1"/>
          </p:cNvSpPr>
          <p:nvPr>
            <p:ph type="title"/>
          </p:nvPr>
        </p:nvSpPr>
        <p:spPr bwMode="gray">
          <a:xfrm>
            <a:off x="446284" y="712800"/>
            <a:ext cx="10113366" cy="743793"/>
          </a:xfrm>
        </p:spPr>
        <p:txBody>
          <a:bodyPr/>
          <a:lstStyle/>
          <a:p>
            <a:r>
              <a:rPr lang="de-DE" noProof="0" dirty="0"/>
              <a:t>Titelmasterformat durch Klicken bearbeiten</a:t>
            </a:r>
          </a:p>
        </p:txBody>
      </p:sp>
      <p:sp>
        <p:nvSpPr>
          <p:cNvPr id="3" name="Datumsplatzhalter 2"/>
          <p:cNvSpPr>
            <a:spLocks noGrp="1"/>
          </p:cNvSpPr>
          <p:nvPr>
            <p:ph type="dt" sz="half" idx="10"/>
          </p:nvPr>
        </p:nvSpPr>
        <p:spPr bwMode="gray"/>
        <p:txBody>
          <a:bodyPr/>
          <a:lstStyle/>
          <a:p>
            <a:fld id="{D44B54E8-F9D6-4B2A-A0C5-E01D4176BB63}" type="datetime1">
              <a:rPr lang="de-DE" noProof="0" smtClean="0"/>
              <a:t>08.01.2022</a:t>
            </a:fld>
            <a:endParaRPr lang="de-DE" noProof="0" dirty="0"/>
          </a:p>
        </p:txBody>
      </p:sp>
      <p:sp>
        <p:nvSpPr>
          <p:cNvPr id="4" name="Fußzeilenplatzhalter 3"/>
          <p:cNvSpPr>
            <a:spLocks noGrp="1"/>
          </p:cNvSpPr>
          <p:nvPr>
            <p:ph type="ftr" sz="quarter" idx="11"/>
          </p:nvPr>
        </p:nvSpPr>
        <p:spPr bwMode="gray"/>
        <p:txBody>
          <a:bodyPr/>
          <a:lstStyle/>
          <a:p>
            <a:r>
              <a:rPr lang="de-DE" noProof="0" dirty="0"/>
              <a:t>/  Styleguide, Musterfolien für Präsentationen</a:t>
            </a:r>
          </a:p>
        </p:txBody>
      </p:sp>
      <p:sp>
        <p:nvSpPr>
          <p:cNvPr id="5" name="Foliennummernplatzhalter 4"/>
          <p:cNvSpPr>
            <a:spLocks noGrp="1"/>
          </p:cNvSpPr>
          <p:nvPr>
            <p:ph type="sldNum" sz="quarter" idx="12"/>
          </p:nvPr>
        </p:nvSpPr>
        <p:spPr bwMode="gray"/>
        <p:txBody>
          <a:bodyPr/>
          <a:lstStyle/>
          <a:p>
            <a:r>
              <a:rPr lang="de-DE" noProof="0" dirty="0"/>
              <a:t>Seite </a:t>
            </a:r>
            <a:fld id="{105F6080-11B6-4F5B-BFCF-ADAD48E4948B}" type="slidenum">
              <a:rPr lang="de-DE" noProof="0" smtClean="0"/>
              <a:pPr/>
              <a:t>‹Nr.›</a:t>
            </a:fld>
            <a:endParaRPr lang="de-DE" noProof="0" dirty="0"/>
          </a:p>
        </p:txBody>
      </p:sp>
      <p:sp>
        <p:nvSpPr>
          <p:cNvPr id="9" name="Bildplatzhalter 8"/>
          <p:cNvSpPr>
            <a:spLocks noGrp="1"/>
          </p:cNvSpPr>
          <p:nvPr>
            <p:ph type="pic" sz="quarter" idx="16"/>
          </p:nvPr>
        </p:nvSpPr>
        <p:spPr bwMode="gray">
          <a:xfrm>
            <a:off x="446284" y="1665288"/>
            <a:ext cx="11301057" cy="4500562"/>
          </a:xfrm>
          <a:noFill/>
        </p:spPr>
        <p:txBody>
          <a:bodyPr tIns="72000">
            <a:noAutofit/>
          </a:bodyPr>
          <a:lstStyle>
            <a:lvl1pPr algn="ctr">
              <a:defRPr b="0">
                <a:solidFill>
                  <a:schemeClr val="tx1"/>
                </a:solidFill>
              </a:defRPr>
            </a:lvl1pPr>
          </a:lstStyle>
          <a:p>
            <a:endParaRPr lang="de-DE" noProof="0" dirty="0"/>
          </a:p>
        </p:txBody>
      </p:sp>
      <p:sp>
        <p:nvSpPr>
          <p:cNvPr id="8" name="Textplatzhalter 13"/>
          <p:cNvSpPr>
            <a:spLocks noGrp="1"/>
          </p:cNvSpPr>
          <p:nvPr>
            <p:ph type="body" sz="quarter" idx="17" hasCustomPrompt="1"/>
          </p:nvPr>
        </p:nvSpPr>
        <p:spPr>
          <a:xfrm>
            <a:off x="444843" y="432000"/>
            <a:ext cx="10114504" cy="184666"/>
          </a:xfrm>
        </p:spPr>
        <p:txBody>
          <a:bodyPr/>
          <a:lstStyle>
            <a:lvl1pPr>
              <a:lnSpc>
                <a:spcPct val="100000"/>
              </a:lnSpc>
              <a:spcBef>
                <a:spcPts val="0"/>
              </a:spcBef>
              <a:defRPr sz="1200" b="1" u="sng" cap="all" spc="190" baseline="0">
                <a:solidFill>
                  <a:schemeClr val="tx1"/>
                </a:solidFill>
                <a:uFill>
                  <a:solidFill>
                    <a:schemeClr val="accent2"/>
                  </a:solidFill>
                </a:uFill>
              </a:defRPr>
            </a:lvl1pPr>
          </a:lstStyle>
          <a:p>
            <a:pPr lvl="0"/>
            <a:r>
              <a:rPr lang="de-DE" dirty="0"/>
              <a:t>headline</a:t>
            </a:r>
          </a:p>
        </p:txBody>
      </p:sp>
    </p:spTree>
    <p:extLst>
      <p:ext uri="{BB962C8B-B14F-4D97-AF65-F5344CB8AC3E}">
        <p14:creationId xmlns:p14="http://schemas.microsoft.com/office/powerpoint/2010/main" val="2841701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und 2 Bilder">
    <p:spTree>
      <p:nvGrpSpPr>
        <p:cNvPr id="1" name=""/>
        <p:cNvGrpSpPr/>
        <p:nvPr/>
      </p:nvGrpSpPr>
      <p:grpSpPr>
        <a:xfrm>
          <a:off x="0" y="0"/>
          <a:ext cx="0" cy="0"/>
          <a:chOff x="0" y="0"/>
          <a:chExt cx="0" cy="0"/>
        </a:xfrm>
      </p:grpSpPr>
      <p:sp>
        <p:nvSpPr>
          <p:cNvPr id="2" name="Titel 1"/>
          <p:cNvSpPr>
            <a:spLocks noGrp="1"/>
          </p:cNvSpPr>
          <p:nvPr>
            <p:ph type="title"/>
          </p:nvPr>
        </p:nvSpPr>
        <p:spPr bwMode="gray">
          <a:xfrm>
            <a:off x="446284" y="712800"/>
            <a:ext cx="10113366" cy="743793"/>
          </a:xfrm>
        </p:spPr>
        <p:txBody>
          <a:bodyPr/>
          <a:lstStyle/>
          <a:p>
            <a:r>
              <a:rPr lang="de-DE" noProof="0" dirty="0"/>
              <a:t>Titelmasterformat durch Klicken bearbeiten</a:t>
            </a:r>
          </a:p>
        </p:txBody>
      </p:sp>
      <p:sp>
        <p:nvSpPr>
          <p:cNvPr id="3" name="Datumsplatzhalter 2"/>
          <p:cNvSpPr>
            <a:spLocks noGrp="1"/>
          </p:cNvSpPr>
          <p:nvPr>
            <p:ph type="dt" sz="half" idx="10"/>
          </p:nvPr>
        </p:nvSpPr>
        <p:spPr bwMode="gray"/>
        <p:txBody>
          <a:bodyPr/>
          <a:lstStyle/>
          <a:p>
            <a:fld id="{EC9DDDE2-0A25-48DE-A3F2-37964B61F751}" type="datetime1">
              <a:rPr lang="de-DE" noProof="0" smtClean="0"/>
              <a:t>08.01.2022</a:t>
            </a:fld>
            <a:endParaRPr lang="de-DE" noProof="0" dirty="0"/>
          </a:p>
        </p:txBody>
      </p:sp>
      <p:sp>
        <p:nvSpPr>
          <p:cNvPr id="4" name="Fußzeilenplatzhalter 3"/>
          <p:cNvSpPr>
            <a:spLocks noGrp="1"/>
          </p:cNvSpPr>
          <p:nvPr>
            <p:ph type="ftr" sz="quarter" idx="11"/>
          </p:nvPr>
        </p:nvSpPr>
        <p:spPr bwMode="gray"/>
        <p:txBody>
          <a:bodyPr/>
          <a:lstStyle/>
          <a:p>
            <a:r>
              <a:rPr lang="de-DE" noProof="0" dirty="0"/>
              <a:t>/  Styleguide, Musterfolien für Präsentationen</a:t>
            </a:r>
          </a:p>
        </p:txBody>
      </p:sp>
      <p:sp>
        <p:nvSpPr>
          <p:cNvPr id="5" name="Foliennummernplatzhalter 4"/>
          <p:cNvSpPr>
            <a:spLocks noGrp="1"/>
          </p:cNvSpPr>
          <p:nvPr>
            <p:ph type="sldNum" sz="quarter" idx="12"/>
          </p:nvPr>
        </p:nvSpPr>
        <p:spPr bwMode="gray"/>
        <p:txBody>
          <a:bodyPr/>
          <a:lstStyle/>
          <a:p>
            <a:r>
              <a:rPr lang="de-DE" noProof="0" dirty="0"/>
              <a:t>Seite </a:t>
            </a:r>
            <a:fld id="{105F6080-11B6-4F5B-BFCF-ADAD48E4948B}" type="slidenum">
              <a:rPr lang="de-DE" noProof="0" smtClean="0"/>
              <a:pPr/>
              <a:t>‹Nr.›</a:t>
            </a:fld>
            <a:endParaRPr lang="de-DE" noProof="0" dirty="0"/>
          </a:p>
        </p:txBody>
      </p:sp>
      <p:sp>
        <p:nvSpPr>
          <p:cNvPr id="9" name="Bildplatzhalter 8"/>
          <p:cNvSpPr>
            <a:spLocks noGrp="1"/>
          </p:cNvSpPr>
          <p:nvPr>
            <p:ph type="pic" sz="quarter" idx="16"/>
          </p:nvPr>
        </p:nvSpPr>
        <p:spPr bwMode="gray">
          <a:xfrm>
            <a:off x="446284" y="1665288"/>
            <a:ext cx="5506566" cy="4500562"/>
          </a:xfrm>
          <a:noFill/>
        </p:spPr>
        <p:txBody>
          <a:bodyPr tIns="72000">
            <a:noAutofit/>
          </a:bodyPr>
          <a:lstStyle>
            <a:lvl1pPr algn="ctr">
              <a:defRPr b="0">
                <a:solidFill>
                  <a:schemeClr val="tx1"/>
                </a:solidFill>
              </a:defRPr>
            </a:lvl1pPr>
          </a:lstStyle>
          <a:p>
            <a:endParaRPr lang="de-DE" noProof="0" dirty="0"/>
          </a:p>
        </p:txBody>
      </p:sp>
      <p:sp>
        <p:nvSpPr>
          <p:cNvPr id="10" name="Bildplatzhalter 8"/>
          <p:cNvSpPr>
            <a:spLocks noGrp="1"/>
          </p:cNvSpPr>
          <p:nvPr>
            <p:ph type="pic" sz="quarter" idx="17"/>
          </p:nvPr>
        </p:nvSpPr>
        <p:spPr bwMode="gray">
          <a:xfrm>
            <a:off x="6242805" y="1665288"/>
            <a:ext cx="5506566" cy="4500562"/>
          </a:xfrm>
          <a:noFill/>
        </p:spPr>
        <p:txBody>
          <a:bodyPr tIns="72000">
            <a:noAutofit/>
          </a:bodyPr>
          <a:lstStyle>
            <a:lvl1pPr algn="ctr">
              <a:defRPr b="0">
                <a:solidFill>
                  <a:schemeClr val="tx1"/>
                </a:solidFill>
              </a:defRPr>
            </a:lvl1pPr>
          </a:lstStyle>
          <a:p>
            <a:endParaRPr lang="de-DE" noProof="0" dirty="0"/>
          </a:p>
        </p:txBody>
      </p:sp>
      <p:sp>
        <p:nvSpPr>
          <p:cNvPr id="11" name="Textplatzhalter 13"/>
          <p:cNvSpPr>
            <a:spLocks noGrp="1"/>
          </p:cNvSpPr>
          <p:nvPr>
            <p:ph type="body" sz="quarter" idx="18" hasCustomPrompt="1"/>
          </p:nvPr>
        </p:nvSpPr>
        <p:spPr>
          <a:xfrm>
            <a:off x="444843" y="432000"/>
            <a:ext cx="10114504" cy="184666"/>
          </a:xfrm>
        </p:spPr>
        <p:txBody>
          <a:bodyPr/>
          <a:lstStyle>
            <a:lvl1pPr>
              <a:lnSpc>
                <a:spcPct val="100000"/>
              </a:lnSpc>
              <a:spcBef>
                <a:spcPts val="0"/>
              </a:spcBef>
              <a:defRPr sz="1200" b="1" u="sng" cap="all" spc="190" baseline="0">
                <a:solidFill>
                  <a:schemeClr val="tx1"/>
                </a:solidFill>
                <a:uFill>
                  <a:solidFill>
                    <a:schemeClr val="accent2"/>
                  </a:solidFill>
                </a:uFill>
              </a:defRPr>
            </a:lvl1pPr>
          </a:lstStyle>
          <a:p>
            <a:pPr lvl="0"/>
            <a:r>
              <a:rPr lang="de-DE" dirty="0"/>
              <a:t>headline</a:t>
            </a:r>
          </a:p>
        </p:txBody>
      </p:sp>
    </p:spTree>
    <p:extLst>
      <p:ext uri="{BB962C8B-B14F-4D97-AF65-F5344CB8AC3E}">
        <p14:creationId xmlns:p14="http://schemas.microsoft.com/office/powerpoint/2010/main" val="30944013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2.w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7"/>
            </p:custDataLst>
            <p:extLst>
              <p:ext uri="{D42A27DB-BD31-4B8C-83A1-F6EECF244321}">
                <p14:modId xmlns:p14="http://schemas.microsoft.com/office/powerpoint/2010/main" val="23798502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7" name="think-cell Folie" r:id="rId18" imgW="276" imgH="275" progId="TCLayout.ActiveDocument.1">
                  <p:embed/>
                </p:oleObj>
              </mc:Choice>
              <mc:Fallback>
                <p:oleObj name="think-cell Folie" r:id="rId18" imgW="276" imgH="275" progId="TCLayout.ActiveDocument.1">
                  <p:embed/>
                  <p:pic>
                    <p:nvPicPr>
                      <p:cNvPr id="7" name="Objekt 6" hidden="1"/>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6" name="Rechteck 25"/>
          <p:cNvSpPr/>
          <p:nvPr userDrawn="1"/>
        </p:nvSpPr>
        <p:spPr>
          <a:xfrm>
            <a:off x="442913" y="6363099"/>
            <a:ext cx="11304587" cy="1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lnSpc>
                <a:spcPts val="2000"/>
              </a:lnSpc>
              <a:spcBef>
                <a:spcPts val="400"/>
              </a:spcBef>
              <a:buClr>
                <a:schemeClr val="bg1"/>
              </a:buClr>
              <a:buFont typeface="DFB Sans Ofc" panose="020B0503030500020204"/>
              <a:buChar char="›"/>
            </a:pPr>
            <a:endParaRPr lang="de-DE" sz="1600" dirty="0"/>
          </a:p>
        </p:txBody>
      </p:sp>
      <p:sp>
        <p:nvSpPr>
          <p:cNvPr id="2" name="Titelplatzhalter 1"/>
          <p:cNvSpPr>
            <a:spLocks noGrp="1"/>
          </p:cNvSpPr>
          <p:nvPr>
            <p:ph type="title"/>
          </p:nvPr>
        </p:nvSpPr>
        <p:spPr bwMode="gray">
          <a:xfrm>
            <a:off x="444843" y="712603"/>
            <a:ext cx="10113366" cy="743793"/>
          </a:xfrm>
          <a:prstGeom prst="rect">
            <a:avLst/>
          </a:prstGeom>
        </p:spPr>
        <p:txBody>
          <a:bodyPr vert="horz" wrap="square" lIns="0" tIns="0" rIns="0" bIns="0" rtlCol="0" anchor="t" anchorCtr="0">
            <a:spAutoFit/>
          </a:bodyPr>
          <a:lstStyle/>
          <a:p>
            <a:r>
              <a:rPr lang="de-DE" noProof="0" dirty="0"/>
              <a:t>Titelmasterformat durch Klicken bearbeiten</a:t>
            </a:r>
          </a:p>
        </p:txBody>
      </p:sp>
      <p:sp>
        <p:nvSpPr>
          <p:cNvPr id="3" name="Textplatzhalter 2"/>
          <p:cNvSpPr>
            <a:spLocks noGrp="1"/>
          </p:cNvSpPr>
          <p:nvPr>
            <p:ph type="body" idx="1"/>
          </p:nvPr>
        </p:nvSpPr>
        <p:spPr bwMode="gray">
          <a:xfrm>
            <a:off x="444843" y="1616607"/>
            <a:ext cx="11301057" cy="1641475"/>
          </a:xfrm>
          <a:prstGeom prst="rect">
            <a:avLst/>
          </a:prstGeom>
        </p:spPr>
        <p:txBody>
          <a:bodyPr vert="horz" wrap="square" lIns="0" tIns="0" rIns="0" bIns="0" rtlCol="0">
            <a:spAutoFit/>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4" name="Datumsplatzhalter 3"/>
          <p:cNvSpPr>
            <a:spLocks noGrp="1"/>
          </p:cNvSpPr>
          <p:nvPr>
            <p:ph type="dt" sz="half" idx="2"/>
          </p:nvPr>
        </p:nvSpPr>
        <p:spPr bwMode="gray">
          <a:xfrm>
            <a:off x="444843" y="6498236"/>
            <a:ext cx="647831" cy="138499"/>
          </a:xfrm>
          <a:prstGeom prst="rect">
            <a:avLst/>
          </a:prstGeom>
        </p:spPr>
        <p:txBody>
          <a:bodyPr vert="horz" lIns="0" tIns="0" rIns="0" bIns="0" rtlCol="0" anchor="ctr">
            <a:spAutoFit/>
          </a:bodyPr>
          <a:lstStyle>
            <a:lvl1pPr algn="l">
              <a:defRPr sz="900">
                <a:solidFill>
                  <a:schemeClr val="tx1"/>
                </a:solidFill>
              </a:defRPr>
            </a:lvl1pPr>
          </a:lstStyle>
          <a:p>
            <a:fld id="{7FE82EB9-2E9F-4CFC-99A8-720EBF4FBA9B}" type="datetime1">
              <a:rPr lang="de-DE" noProof="0" smtClean="0"/>
              <a:t>08.01.2022</a:t>
            </a:fld>
            <a:endParaRPr lang="de-DE" noProof="0" dirty="0"/>
          </a:p>
        </p:txBody>
      </p:sp>
      <p:sp>
        <p:nvSpPr>
          <p:cNvPr id="5" name="Fußzeilenplatzhalter 4"/>
          <p:cNvSpPr>
            <a:spLocks noGrp="1"/>
          </p:cNvSpPr>
          <p:nvPr>
            <p:ph type="ftr" sz="quarter" idx="3"/>
          </p:nvPr>
        </p:nvSpPr>
        <p:spPr bwMode="gray">
          <a:xfrm>
            <a:off x="1099836" y="6498236"/>
            <a:ext cx="9897423" cy="138499"/>
          </a:xfrm>
          <a:prstGeom prst="rect">
            <a:avLst/>
          </a:prstGeom>
        </p:spPr>
        <p:txBody>
          <a:bodyPr vert="horz" lIns="0" tIns="0" rIns="0" bIns="0" rtlCol="0" anchor="ctr">
            <a:spAutoFit/>
          </a:bodyPr>
          <a:lstStyle>
            <a:lvl1pPr algn="l">
              <a:defRPr sz="900" b="1">
                <a:solidFill>
                  <a:schemeClr val="tx1"/>
                </a:solidFill>
              </a:defRPr>
            </a:lvl1pPr>
          </a:lstStyle>
          <a:p>
            <a:r>
              <a:rPr lang="de-DE" noProof="0" dirty="0"/>
              <a:t>/  Styleguide, Musterfolien für Präsentationen</a:t>
            </a:r>
          </a:p>
        </p:txBody>
      </p:sp>
      <p:sp>
        <p:nvSpPr>
          <p:cNvPr id="6" name="Foliennummernplatzhalter 5"/>
          <p:cNvSpPr>
            <a:spLocks noGrp="1"/>
          </p:cNvSpPr>
          <p:nvPr>
            <p:ph type="sldNum" sz="quarter" idx="4"/>
          </p:nvPr>
        </p:nvSpPr>
        <p:spPr bwMode="gray">
          <a:xfrm>
            <a:off x="11118775" y="6498236"/>
            <a:ext cx="627126" cy="138499"/>
          </a:xfrm>
          <a:prstGeom prst="rect">
            <a:avLst/>
          </a:prstGeom>
        </p:spPr>
        <p:txBody>
          <a:bodyPr vert="horz" wrap="square" lIns="0" tIns="0" rIns="0" bIns="0" rtlCol="0" anchor="ctr">
            <a:spAutoFit/>
          </a:bodyPr>
          <a:lstStyle>
            <a:lvl1pPr algn="r">
              <a:defRPr sz="900" b="1">
                <a:solidFill>
                  <a:schemeClr val="accent2"/>
                </a:solidFill>
              </a:defRPr>
            </a:lvl1pPr>
          </a:lstStyle>
          <a:p>
            <a:r>
              <a:rPr lang="de-DE" dirty="0"/>
              <a:t>Seite </a:t>
            </a:r>
            <a:fld id="{105F6080-11B6-4F5B-BFCF-ADAD48E4948B}" type="slidenum">
              <a:rPr lang="de-DE" smtClean="0"/>
              <a:pPr/>
              <a:t>‹Nr.›</a:t>
            </a:fld>
            <a:endParaRPr lang="de-DE" dirty="0"/>
          </a:p>
        </p:txBody>
      </p:sp>
      <p:pic>
        <p:nvPicPr>
          <p:cNvPr id="217" name="Grafik 216"/>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bwMode="gray">
          <a:xfrm>
            <a:off x="11029923" y="446570"/>
            <a:ext cx="719813" cy="719886"/>
          </a:xfrm>
          <a:prstGeom prst="rect">
            <a:avLst/>
          </a:prstGeom>
        </p:spPr>
      </p:pic>
      <p:grpSp>
        <p:nvGrpSpPr>
          <p:cNvPr id="226" name="Gruppieren 225"/>
          <p:cNvGrpSpPr/>
          <p:nvPr userDrawn="1"/>
        </p:nvGrpSpPr>
        <p:grpSpPr>
          <a:xfrm>
            <a:off x="449295" y="-153684"/>
            <a:ext cx="11297861" cy="108000"/>
            <a:chOff x="449412" y="0"/>
            <a:chExt cx="11300803" cy="108000"/>
          </a:xfrm>
        </p:grpSpPr>
        <p:sp>
          <p:nvSpPr>
            <p:cNvPr id="222" name="Freihandform: Form 221"/>
            <p:cNvSpPr/>
            <p:nvPr userDrawn="1"/>
          </p:nvSpPr>
          <p:spPr>
            <a:xfrm>
              <a:off x="449412"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223" name="Freihandform: Form 222"/>
            <p:cNvSpPr/>
            <p:nvPr userDrawn="1"/>
          </p:nvSpPr>
          <p:spPr>
            <a:xfrm>
              <a:off x="5950099"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224" name="Freihandform: Form 223"/>
            <p:cNvSpPr/>
            <p:nvPr userDrawn="1"/>
          </p:nvSpPr>
          <p:spPr>
            <a:xfrm>
              <a:off x="6242050"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225" name="Freihandform: Form 224"/>
            <p:cNvSpPr/>
            <p:nvPr userDrawn="1"/>
          </p:nvSpPr>
          <p:spPr>
            <a:xfrm>
              <a:off x="11750215"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grpSp>
      <p:grpSp>
        <p:nvGrpSpPr>
          <p:cNvPr id="227" name="Gruppieren 226"/>
          <p:cNvGrpSpPr/>
          <p:nvPr userDrawn="1"/>
        </p:nvGrpSpPr>
        <p:grpSpPr bwMode="gray">
          <a:xfrm>
            <a:off x="449295" y="6903684"/>
            <a:ext cx="11297861" cy="108000"/>
            <a:chOff x="449412" y="0"/>
            <a:chExt cx="11300803" cy="108000"/>
          </a:xfrm>
        </p:grpSpPr>
        <p:sp>
          <p:nvSpPr>
            <p:cNvPr id="229" name="Freihandform: Form 228"/>
            <p:cNvSpPr/>
            <p:nvPr userDrawn="1"/>
          </p:nvSpPr>
          <p:spPr bwMode="gray">
            <a:xfrm>
              <a:off x="449412"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230" name="Freihandform: Form 229"/>
            <p:cNvSpPr/>
            <p:nvPr userDrawn="1"/>
          </p:nvSpPr>
          <p:spPr bwMode="gray">
            <a:xfrm>
              <a:off x="5950099"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231" name="Freihandform: Form 230"/>
            <p:cNvSpPr/>
            <p:nvPr userDrawn="1"/>
          </p:nvSpPr>
          <p:spPr bwMode="gray">
            <a:xfrm>
              <a:off x="6242050"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232" name="Freihandform: Form 231"/>
            <p:cNvSpPr/>
            <p:nvPr userDrawn="1"/>
          </p:nvSpPr>
          <p:spPr bwMode="gray">
            <a:xfrm>
              <a:off x="11750215" y="0"/>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grpSp>
      <p:grpSp>
        <p:nvGrpSpPr>
          <p:cNvPr id="239" name="Gruppieren 238"/>
          <p:cNvGrpSpPr/>
          <p:nvPr userDrawn="1"/>
        </p:nvGrpSpPr>
        <p:grpSpPr>
          <a:xfrm>
            <a:off x="-149354" y="1664804"/>
            <a:ext cx="107973" cy="4500500"/>
            <a:chOff x="-149393" y="1664804"/>
            <a:chExt cx="108001" cy="4500500"/>
          </a:xfrm>
        </p:grpSpPr>
        <p:sp>
          <p:nvSpPr>
            <p:cNvPr id="234" name="Freihandform: Form 233"/>
            <p:cNvSpPr/>
            <p:nvPr userDrawn="1"/>
          </p:nvSpPr>
          <p:spPr>
            <a:xfrm rot="16200000">
              <a:off x="-95392" y="6111304"/>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237" name="Freihandform: Form 236"/>
            <p:cNvSpPr/>
            <p:nvPr userDrawn="1"/>
          </p:nvSpPr>
          <p:spPr>
            <a:xfrm rot="16200000">
              <a:off x="-95393" y="1610804"/>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grpSp>
      <p:grpSp>
        <p:nvGrpSpPr>
          <p:cNvPr id="240" name="Gruppieren 239"/>
          <p:cNvGrpSpPr/>
          <p:nvPr userDrawn="1"/>
        </p:nvGrpSpPr>
        <p:grpSpPr bwMode="gray">
          <a:xfrm>
            <a:off x="12233381" y="1664804"/>
            <a:ext cx="107973" cy="4500500"/>
            <a:chOff x="-149393" y="1664804"/>
            <a:chExt cx="108001" cy="4500500"/>
          </a:xfrm>
        </p:grpSpPr>
        <p:sp>
          <p:nvSpPr>
            <p:cNvPr id="241" name="Freihandform: Form 240"/>
            <p:cNvSpPr/>
            <p:nvPr userDrawn="1"/>
          </p:nvSpPr>
          <p:spPr bwMode="gray">
            <a:xfrm rot="16200000">
              <a:off x="-95392" y="6111304"/>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242" name="Freihandform: Form 241"/>
            <p:cNvSpPr/>
            <p:nvPr userDrawn="1"/>
          </p:nvSpPr>
          <p:spPr bwMode="gray">
            <a:xfrm rot="16200000">
              <a:off x="-95393" y="1610804"/>
              <a:ext cx="0" cy="108000"/>
            </a:xfrm>
            <a:custGeom>
              <a:avLst/>
              <a:gdLst>
                <a:gd name="connsiteX0" fmla="*/ 0 w 0"/>
                <a:gd name="connsiteY0" fmla="*/ 0 h 224287"/>
                <a:gd name="connsiteX1" fmla="*/ 0 w 0"/>
                <a:gd name="connsiteY1" fmla="*/ 224287 h 224287"/>
              </a:gdLst>
              <a:ahLst/>
              <a:cxnLst>
                <a:cxn ang="0">
                  <a:pos x="connsiteX0" y="connsiteY0"/>
                </a:cxn>
                <a:cxn ang="0">
                  <a:pos x="connsiteX1" y="connsiteY1"/>
                </a:cxn>
              </a:cxnLst>
              <a:rect l="l" t="t" r="r" b="b"/>
              <a:pathLst>
                <a:path h="224287">
                  <a:moveTo>
                    <a:pt x="0" y="0"/>
                  </a:moveTo>
                  <a:lnTo>
                    <a:pt x="0" y="22428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grpSp>
    </p:spTree>
    <p:extLst>
      <p:ext uri="{BB962C8B-B14F-4D97-AF65-F5344CB8AC3E}">
        <p14:creationId xmlns:p14="http://schemas.microsoft.com/office/powerpoint/2010/main" val="1764326184"/>
      </p:ext>
    </p:extLst>
  </p:cSld>
  <p:clrMap bg1="lt1" tx1="dk1" bg2="lt2" tx2="dk2" accent1="accent1" accent2="accent2" accent3="accent3" accent4="accent4" accent5="accent5" accent6="accent6" hlink="hlink" folHlink="folHlink"/>
  <p:sldLayoutIdLst>
    <p:sldLayoutId id="2147483649" r:id="rId1"/>
    <p:sldLayoutId id="2147483670" r:id="rId2"/>
    <p:sldLayoutId id="2147483661" r:id="rId3"/>
    <p:sldLayoutId id="2147483662" r:id="rId4"/>
    <p:sldLayoutId id="2147483663" r:id="rId5"/>
    <p:sldLayoutId id="2147483650" r:id="rId6"/>
    <p:sldLayoutId id="2147483664" r:id="rId7"/>
    <p:sldLayoutId id="2147483665" r:id="rId8"/>
    <p:sldLayoutId id="2147483666" r:id="rId9"/>
    <p:sldLayoutId id="2147483667" r:id="rId10"/>
    <p:sldLayoutId id="2147483668" r:id="rId11"/>
    <p:sldLayoutId id="2147483671" r:id="rId12"/>
    <p:sldLayoutId id="2147483669" r:id="rId13"/>
    <p:sldLayoutId id="2147483672" r:id="rId14"/>
  </p:sldLayoutIdLst>
  <p:hf hdr="0"/>
  <p:txStyles>
    <p:titleStyle>
      <a:lvl1pPr algn="l" defTabSz="914126" rtl="0" eaLnBrk="1" latinLnBrk="0" hangingPunct="1">
        <a:lnSpc>
          <a:spcPts val="2900"/>
        </a:lnSpc>
        <a:spcBef>
          <a:spcPct val="0"/>
        </a:spcBef>
        <a:buNone/>
        <a:defRPr sz="2699" b="1" kern="1200" cap="all" spc="400" baseline="0">
          <a:solidFill>
            <a:schemeClr val="tx1"/>
          </a:solidFill>
          <a:latin typeface="+mj-lt"/>
          <a:ea typeface="+mj-ea"/>
          <a:cs typeface="+mj-cs"/>
        </a:defRPr>
      </a:lvl1pPr>
    </p:titleStyle>
    <p:bodyStyle>
      <a:lvl1pPr marL="0" indent="0" algn="l" defTabSz="914126" rtl="0" eaLnBrk="1" latinLnBrk="0" hangingPunct="1">
        <a:lnSpc>
          <a:spcPts val="2000"/>
        </a:lnSpc>
        <a:spcBef>
          <a:spcPts val="1200"/>
        </a:spcBef>
        <a:buFont typeface="Arial" pitchFamily="34" charset="0"/>
        <a:buNone/>
        <a:defRPr sz="1600" b="1" kern="1200">
          <a:solidFill>
            <a:schemeClr val="accent2"/>
          </a:solidFill>
          <a:latin typeface="+mn-lt"/>
          <a:ea typeface="+mn-ea"/>
          <a:cs typeface="+mn-cs"/>
        </a:defRPr>
      </a:lvl1pPr>
      <a:lvl2pPr marL="0" indent="0" algn="l" defTabSz="914126" rtl="0" eaLnBrk="1" latinLnBrk="0" hangingPunct="1">
        <a:lnSpc>
          <a:spcPts val="2000"/>
        </a:lnSpc>
        <a:spcBef>
          <a:spcPts val="800"/>
        </a:spcBef>
        <a:buFont typeface="Arial" pitchFamily="34" charset="0"/>
        <a:buNone/>
        <a:defRPr sz="1600" kern="1200">
          <a:solidFill>
            <a:schemeClr val="tx1"/>
          </a:solidFill>
          <a:latin typeface="+mn-lt"/>
          <a:ea typeface="+mn-ea"/>
          <a:cs typeface="+mn-cs"/>
        </a:defRPr>
      </a:lvl2pPr>
      <a:lvl3pPr marL="179946" indent="-179946" algn="l" defTabSz="914126" rtl="0" eaLnBrk="1" latinLnBrk="0" hangingPunct="1">
        <a:lnSpc>
          <a:spcPts val="2000"/>
        </a:lnSpc>
        <a:spcBef>
          <a:spcPts val="400"/>
        </a:spcBef>
        <a:buClr>
          <a:schemeClr val="accent2"/>
        </a:buClr>
        <a:buFont typeface="DFB Sans Ofc" panose="020B0503030500020204" pitchFamily="34" charset="0"/>
        <a:buChar char="›"/>
        <a:defRPr sz="1600" kern="1200">
          <a:solidFill>
            <a:schemeClr val="tx1"/>
          </a:solidFill>
          <a:latin typeface="+mn-lt"/>
          <a:ea typeface="+mn-ea"/>
          <a:cs typeface="+mn-cs"/>
        </a:defRPr>
      </a:lvl3pPr>
      <a:lvl4pPr marL="807796" indent="-179946" algn="l" defTabSz="914126" rtl="0" eaLnBrk="1" latinLnBrk="0" hangingPunct="1">
        <a:lnSpc>
          <a:spcPts val="2000"/>
        </a:lnSpc>
        <a:spcBef>
          <a:spcPts val="400"/>
        </a:spcBef>
        <a:buClr>
          <a:schemeClr val="accent2"/>
        </a:buClr>
        <a:buFont typeface="DFB Sans Ofc" panose="020B0503030500020204" pitchFamily="34" charset="0"/>
        <a:buChar char="›"/>
        <a:defRPr sz="1600" kern="1200">
          <a:solidFill>
            <a:schemeClr val="tx1"/>
          </a:solidFill>
          <a:latin typeface="+mn-lt"/>
          <a:ea typeface="+mn-ea"/>
          <a:cs typeface="+mn-cs"/>
        </a:defRPr>
      </a:lvl4pPr>
      <a:lvl5pPr marL="269794" indent="-269794" algn="l" defTabSz="914126" rtl="0" eaLnBrk="1" latinLnBrk="0" hangingPunct="1">
        <a:lnSpc>
          <a:spcPts val="2000"/>
        </a:lnSpc>
        <a:spcBef>
          <a:spcPts val="1200"/>
        </a:spcBef>
        <a:buClr>
          <a:schemeClr val="accent2"/>
        </a:buClr>
        <a:buFont typeface="Arial" panose="020B0604020202020204" pitchFamily="34" charset="0"/>
        <a:buChar char="→"/>
        <a:defRPr sz="1600" kern="1200">
          <a:solidFill>
            <a:schemeClr val="accent2"/>
          </a:solidFill>
          <a:latin typeface="+mn-lt"/>
          <a:ea typeface="+mn-ea"/>
          <a:cs typeface="+mn-cs"/>
        </a:defRPr>
      </a:lvl5pPr>
      <a:lvl6pPr marL="2513846"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908"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971"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5034"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de-DE"/>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49" userDrawn="1">
          <p15:clr>
            <a:srgbClr val="F26B43"/>
          </p15:clr>
        </p15:guide>
        <p15:guide id="2" pos="279" userDrawn="1">
          <p15:clr>
            <a:srgbClr val="F26B43"/>
          </p15:clr>
        </p15:guide>
        <p15:guide id="3" pos="7400" userDrawn="1">
          <p15:clr>
            <a:srgbClr val="F26B43"/>
          </p15:clr>
        </p15:guide>
        <p15:guide id="4" orient="horz" pos="3884" userDrawn="1">
          <p15:clr>
            <a:srgbClr val="F26B43"/>
          </p15:clr>
        </p15:guide>
        <p15:guide id="5" pos="3749" userDrawn="1">
          <p15:clr>
            <a:srgbClr val="F26B43"/>
          </p15:clr>
        </p15:guide>
        <p15:guide id="6"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ctrTitle"/>
          </p:nvPr>
        </p:nvSpPr>
        <p:spPr bwMode="gray">
          <a:xfrm>
            <a:off x="444843" y="4269905"/>
            <a:ext cx="11301057" cy="512961"/>
          </a:xfrm>
        </p:spPr>
        <p:txBody>
          <a:bodyPr/>
          <a:lstStyle/>
          <a:p>
            <a:r>
              <a:rPr lang="de-DE" sz="3650" dirty="0"/>
              <a:t>Zusammenarbeit im SR-Team</a:t>
            </a:r>
          </a:p>
        </p:txBody>
      </p:sp>
      <p:sp>
        <p:nvSpPr>
          <p:cNvPr id="7" name="Untertitel 6"/>
          <p:cNvSpPr>
            <a:spLocks noGrp="1"/>
          </p:cNvSpPr>
          <p:nvPr>
            <p:ph type="subTitle" idx="1"/>
          </p:nvPr>
        </p:nvSpPr>
        <p:spPr bwMode="gray">
          <a:xfrm>
            <a:off x="444843" y="4981934"/>
            <a:ext cx="11301057" cy="246478"/>
          </a:xfrm>
        </p:spPr>
        <p:txBody>
          <a:bodyPr vert="horz" wrap="square" lIns="0" tIns="0" rIns="0" bIns="0" rtlCol="0" anchor="t">
            <a:spAutoFit/>
          </a:bodyPr>
          <a:lstStyle/>
          <a:p>
            <a:r>
              <a:rPr lang="de-DE" dirty="0"/>
              <a:t>Lehrbrief 101</a:t>
            </a:r>
          </a:p>
        </p:txBody>
      </p:sp>
      <p:sp>
        <p:nvSpPr>
          <p:cNvPr id="8" name="Textplatzhalter 7"/>
          <p:cNvSpPr>
            <a:spLocks noGrp="1"/>
          </p:cNvSpPr>
          <p:nvPr>
            <p:ph type="body" sz="quarter" idx="10"/>
          </p:nvPr>
        </p:nvSpPr>
        <p:spPr bwMode="gray">
          <a:xfrm>
            <a:off x="444843" y="5428557"/>
            <a:ext cx="11301057" cy="194540"/>
          </a:xfrm>
        </p:spPr>
        <p:txBody>
          <a:bodyPr vert="horz" wrap="square" lIns="0" tIns="0" rIns="0" bIns="0" rtlCol="0" anchor="t">
            <a:spAutoFit/>
          </a:bodyPr>
          <a:lstStyle/>
          <a:p>
            <a:r>
              <a:rPr lang="de-DE" dirty="0"/>
              <a:t>Stand: Februar 2022</a:t>
            </a:r>
          </a:p>
        </p:txBody>
      </p:sp>
    </p:spTree>
    <p:extLst>
      <p:ext uri="{BB962C8B-B14F-4D97-AF65-F5344CB8AC3E}">
        <p14:creationId xmlns:p14="http://schemas.microsoft.com/office/powerpoint/2010/main" val="12546732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bwMode="gray"/>
        <p:txBody>
          <a:bodyPr/>
          <a:lstStyle/>
          <a:p>
            <a:r>
              <a:rPr lang="de-DE" noProof="0" dirty="0"/>
              <a:t>Februar 2022</a:t>
            </a:r>
          </a:p>
        </p:txBody>
      </p:sp>
      <p:sp>
        <p:nvSpPr>
          <p:cNvPr id="5" name="Textplatzhalter 4"/>
          <p:cNvSpPr>
            <a:spLocks noGrp="1"/>
          </p:cNvSpPr>
          <p:nvPr>
            <p:ph type="body" sz="quarter" idx="13"/>
          </p:nvPr>
        </p:nvSpPr>
        <p:spPr bwMode="gray">
          <a:xfrm>
            <a:off x="444843" y="3263300"/>
            <a:ext cx="11301057" cy="1025922"/>
          </a:xfrm>
        </p:spPr>
        <p:txBody>
          <a:bodyPr vert="horz" wrap="square" lIns="0" tIns="0" rIns="0" bIns="0" rtlCol="0" anchor="t">
            <a:spAutoFit/>
          </a:bodyPr>
          <a:lstStyle/>
          <a:p>
            <a:r>
              <a:rPr lang="de-DE" sz="3650"/>
              <a:t>Was sind die Grundlagen in der Zusammenarbeit </a:t>
            </a:r>
            <a:endParaRPr lang="de-DE"/>
          </a:p>
        </p:txBody>
      </p:sp>
      <p:sp>
        <p:nvSpPr>
          <p:cNvPr id="7" name="Foliennummernplatzhalter 6"/>
          <p:cNvSpPr>
            <a:spLocks noGrp="1"/>
          </p:cNvSpPr>
          <p:nvPr>
            <p:ph type="sldNum" sz="quarter" idx="12"/>
          </p:nvPr>
        </p:nvSpPr>
        <p:spPr bwMode="gray"/>
        <p:txBody>
          <a:bodyPr/>
          <a:lstStyle/>
          <a:p>
            <a:r>
              <a:rPr lang="de-DE" noProof="0" dirty="0"/>
              <a:t>Seite </a:t>
            </a:r>
            <a:fld id="{105F6080-11B6-4F5B-BFCF-ADAD48E4948B}" type="slidenum">
              <a:rPr lang="de-DE" noProof="0" smtClean="0"/>
              <a:pPr/>
              <a:t>2</a:t>
            </a:fld>
            <a:endParaRPr lang="de-DE" noProof="0" dirty="0"/>
          </a:p>
        </p:txBody>
      </p:sp>
      <p:sp>
        <p:nvSpPr>
          <p:cNvPr id="4" name="Fußzeilenplatzhalter 3"/>
          <p:cNvSpPr>
            <a:spLocks noGrp="1"/>
          </p:cNvSpPr>
          <p:nvPr>
            <p:ph type="ftr" sz="quarter" idx="11"/>
          </p:nvPr>
        </p:nvSpPr>
        <p:spPr/>
        <p:txBody>
          <a:bodyPr/>
          <a:lstStyle/>
          <a:p>
            <a:r>
              <a:rPr lang="de-DE" noProof="0" dirty="0"/>
              <a:t>/  nichtneutraler Assistent</a:t>
            </a:r>
          </a:p>
        </p:txBody>
      </p:sp>
    </p:spTree>
    <p:extLst>
      <p:ext uri="{BB962C8B-B14F-4D97-AF65-F5344CB8AC3E}">
        <p14:creationId xmlns:p14="http://schemas.microsoft.com/office/powerpoint/2010/main" val="26601062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a:xfrm>
            <a:off x="446284" y="712800"/>
            <a:ext cx="10113366" cy="371897"/>
          </a:xfrm>
        </p:spPr>
        <p:txBody>
          <a:bodyPr/>
          <a:lstStyle/>
          <a:p>
            <a:r>
              <a:rPr lang="de-DE" sz="2650" dirty="0"/>
              <a:t>Nicht neutraler Assistent</a:t>
            </a:r>
            <a:endParaRPr lang="de-DE" dirty="0"/>
          </a:p>
        </p:txBody>
      </p:sp>
      <p:sp>
        <p:nvSpPr>
          <p:cNvPr id="9" name="Inhaltsplatzhalter 8"/>
          <p:cNvSpPr>
            <a:spLocks noGrp="1"/>
          </p:cNvSpPr>
          <p:nvPr>
            <p:ph idx="1"/>
          </p:nvPr>
        </p:nvSpPr>
        <p:spPr>
          <a:xfrm>
            <a:off x="446285" y="1616607"/>
            <a:ext cx="10951822" cy="3978269"/>
          </a:xfrm>
        </p:spPr>
        <p:txBody>
          <a:bodyPr vert="horz" wrap="square" lIns="0" tIns="0" rIns="0" bIns="0" rtlCol="0" anchor="t">
            <a:spAutoFit/>
          </a:bodyPr>
          <a:lstStyle/>
          <a:p>
            <a:r>
              <a:rPr lang="de-DE" sz="1800" dirty="0"/>
              <a:t>Was sind die Grundlagen für die Zusammenarbeit mit einem nicht neutralen Assistenten </a:t>
            </a:r>
          </a:p>
          <a:p>
            <a:pPr>
              <a:lnSpc>
                <a:spcPts val="1300"/>
              </a:lnSpc>
            </a:pPr>
            <a:endParaRPr lang="de-DE" sz="1800" dirty="0">
              <a:effectLst/>
              <a:latin typeface="DFB Sans Ofc"/>
              <a:ea typeface="DFB Sans Ofc"/>
              <a:cs typeface="Times New Roman" panose="02020603050405020304" pitchFamily="18" charset="0"/>
            </a:endParaRPr>
          </a:p>
          <a:p>
            <a:pPr marL="342900" lvl="0" indent="-342900">
              <a:lnSpc>
                <a:spcPts val="1300"/>
              </a:lnSpc>
              <a:buFont typeface="+mj-lt"/>
              <a:buAutoNum type="arabicPeriod"/>
            </a:pPr>
            <a:r>
              <a:rPr lang="de-DE" sz="1800" dirty="0">
                <a:effectLst/>
                <a:latin typeface="DFB Sans Ofc"/>
                <a:ea typeface="DFB Sans Ofc"/>
                <a:cs typeface="Times New Roman" panose="02020603050405020304" pitchFamily="18" charset="0"/>
              </a:rPr>
              <a:t>Was darf ein nichtneutraler Assistent alles anzeigen?</a:t>
            </a:r>
          </a:p>
          <a:p>
            <a:pPr marL="342900" indent="-342900">
              <a:lnSpc>
                <a:spcPts val="1300"/>
              </a:lnSpc>
              <a:buFont typeface="+mj-lt"/>
              <a:buAutoNum type="arabicPeriod"/>
            </a:pPr>
            <a:endParaRPr lang="de-DE" sz="1800" dirty="0">
              <a:effectLst/>
              <a:latin typeface="DFB Sans Ofc"/>
              <a:ea typeface="DFB Sans Ofc"/>
              <a:cs typeface="Times New Roman" panose="02020603050405020304" pitchFamily="18" charset="0"/>
            </a:endParaRPr>
          </a:p>
          <a:p>
            <a:pPr marL="342900" lvl="0" indent="-342900">
              <a:lnSpc>
                <a:spcPts val="1300"/>
              </a:lnSpc>
              <a:buFont typeface="+mj-lt"/>
              <a:buAutoNum type="arabicPeriod"/>
            </a:pPr>
            <a:r>
              <a:rPr lang="de-DE" sz="1800" dirty="0">
                <a:effectLst/>
                <a:latin typeface="DFB Sans Ofc"/>
                <a:ea typeface="DFB Sans Ofc"/>
                <a:cs typeface="Times New Roman" panose="02020603050405020304" pitchFamily="18" charset="0"/>
              </a:rPr>
              <a:t>Was mache ich, wenn er mehr anzeigt?</a:t>
            </a:r>
          </a:p>
          <a:p>
            <a:pPr marL="342900" indent="-342900">
              <a:lnSpc>
                <a:spcPts val="1300"/>
              </a:lnSpc>
              <a:buFont typeface="+mj-lt"/>
              <a:buAutoNum type="arabicPeriod"/>
            </a:pPr>
            <a:endParaRPr lang="de-DE" sz="1800" dirty="0">
              <a:effectLst/>
              <a:latin typeface="DFB Sans Ofc"/>
              <a:ea typeface="DFB Sans Ofc"/>
              <a:cs typeface="Times New Roman" panose="02020603050405020304" pitchFamily="18" charset="0"/>
            </a:endParaRPr>
          </a:p>
          <a:p>
            <a:pPr marL="342900" lvl="0" indent="-342900">
              <a:lnSpc>
                <a:spcPts val="1300"/>
              </a:lnSpc>
              <a:buFont typeface="+mj-lt"/>
              <a:buAutoNum type="arabicPeriod"/>
            </a:pPr>
            <a:r>
              <a:rPr lang="de-DE" sz="1800" dirty="0">
                <a:effectLst/>
                <a:latin typeface="DFB Sans Ofc"/>
                <a:ea typeface="DFB Sans Ofc"/>
                <a:cs typeface="Times New Roman" panose="02020603050405020304" pitchFamily="18" charset="0"/>
              </a:rPr>
              <a:t>Was habe ich für Möglichkeiten, wenn der nichtneutrale SRA sich nicht korrekt verhält / über seine abgesprochene Hilfeleistung geht?</a:t>
            </a:r>
          </a:p>
          <a:p>
            <a:pPr marL="342900" indent="-342900">
              <a:lnSpc>
                <a:spcPts val="1300"/>
              </a:lnSpc>
              <a:buFont typeface="+mj-lt"/>
              <a:buAutoNum type="arabicPeriod"/>
            </a:pPr>
            <a:endParaRPr lang="de-DE" sz="1800" dirty="0">
              <a:effectLst/>
              <a:latin typeface="DFB Sans Ofc"/>
              <a:ea typeface="DFB Sans Ofc"/>
              <a:cs typeface="Times New Roman" panose="02020603050405020304" pitchFamily="18" charset="0"/>
            </a:endParaRPr>
          </a:p>
          <a:p>
            <a:pPr marL="342900" lvl="0" indent="-342900">
              <a:lnSpc>
                <a:spcPts val="1300"/>
              </a:lnSpc>
              <a:buFont typeface="+mj-lt"/>
              <a:buAutoNum type="arabicPeriod"/>
            </a:pPr>
            <a:r>
              <a:rPr lang="de-DE" sz="1800" dirty="0">
                <a:effectLst/>
                <a:latin typeface="DFB Sans Ofc"/>
                <a:ea typeface="DFB Sans Ofc"/>
                <a:cs typeface="Times New Roman" panose="02020603050405020304" pitchFamily="18" charset="0"/>
              </a:rPr>
              <a:t>Welche Disziplinarmöglichkeiten habe ich?</a:t>
            </a:r>
          </a:p>
          <a:p>
            <a:pPr marL="342900" indent="-342900">
              <a:lnSpc>
                <a:spcPts val="1300"/>
              </a:lnSpc>
              <a:buFont typeface="+mj-lt"/>
              <a:buAutoNum type="arabicPeriod"/>
            </a:pPr>
            <a:endParaRPr lang="de-DE" sz="1800" dirty="0">
              <a:effectLst/>
              <a:latin typeface="DFB Sans Ofc"/>
              <a:ea typeface="DFB Sans Ofc"/>
              <a:cs typeface="Times New Roman" panose="02020603050405020304" pitchFamily="18" charset="0"/>
            </a:endParaRPr>
          </a:p>
          <a:p>
            <a:pPr marL="342900" lvl="0" indent="-342900">
              <a:lnSpc>
                <a:spcPts val="1300"/>
              </a:lnSpc>
              <a:buFont typeface="+mj-lt"/>
              <a:buAutoNum type="arabicPeriod"/>
            </a:pPr>
            <a:r>
              <a:rPr lang="de-DE" sz="1800" dirty="0">
                <a:effectLst/>
                <a:latin typeface="DFB Sans Ofc"/>
                <a:ea typeface="DFB Sans Ofc"/>
                <a:cs typeface="Times New Roman" panose="02020603050405020304" pitchFamily="18" charset="0"/>
              </a:rPr>
              <a:t>Muss ich was im Spielbericht vermerken?</a:t>
            </a:r>
          </a:p>
          <a:p>
            <a:pPr marL="285750" lvl="1" indent="-285750">
              <a:buChar char="•"/>
            </a:pPr>
            <a:endParaRPr lang="de-DE" dirty="0"/>
          </a:p>
        </p:txBody>
      </p:sp>
      <p:sp>
        <p:nvSpPr>
          <p:cNvPr id="2" name="Foliennummernplatzhalter 1"/>
          <p:cNvSpPr>
            <a:spLocks noGrp="1"/>
          </p:cNvSpPr>
          <p:nvPr>
            <p:ph type="sldNum" sz="quarter" idx="12"/>
          </p:nvPr>
        </p:nvSpPr>
        <p:spPr/>
        <p:txBody>
          <a:bodyPr/>
          <a:lstStyle/>
          <a:p>
            <a:r>
              <a:rPr lang="de-DE" noProof="0" dirty="0"/>
              <a:t>Seite </a:t>
            </a:r>
            <a:fld id="{105F6080-11B6-4F5B-BFCF-ADAD48E4948B}" type="slidenum">
              <a:rPr lang="de-DE" noProof="0" smtClean="0"/>
              <a:pPr/>
              <a:t>3</a:t>
            </a:fld>
            <a:endParaRPr lang="de-DE" noProof="0" dirty="0"/>
          </a:p>
        </p:txBody>
      </p:sp>
      <p:sp>
        <p:nvSpPr>
          <p:cNvPr id="10" name="Textplatzhalter 9"/>
          <p:cNvSpPr>
            <a:spLocks noGrp="1"/>
          </p:cNvSpPr>
          <p:nvPr>
            <p:ph type="body" sz="quarter" idx="16"/>
          </p:nvPr>
        </p:nvSpPr>
        <p:spPr/>
        <p:txBody>
          <a:bodyPr/>
          <a:lstStyle/>
          <a:p>
            <a:r>
              <a:rPr lang="de-DE" dirty="0"/>
              <a:t>Grundregeln</a:t>
            </a:r>
          </a:p>
        </p:txBody>
      </p:sp>
      <p:sp>
        <p:nvSpPr>
          <p:cNvPr id="11" name="Datumsplatzhalter 1">
            <a:extLst>
              <a:ext uri="{FF2B5EF4-FFF2-40B4-BE49-F238E27FC236}">
                <a16:creationId xmlns:a16="http://schemas.microsoft.com/office/drawing/2014/main" id="{4D6A4C72-508E-4B26-BB71-74696E803E36}"/>
              </a:ext>
            </a:extLst>
          </p:cNvPr>
          <p:cNvSpPr>
            <a:spLocks noGrp="1"/>
          </p:cNvSpPr>
          <p:nvPr>
            <p:ph type="dt" sz="half" idx="10"/>
          </p:nvPr>
        </p:nvSpPr>
        <p:spPr bwMode="gray">
          <a:xfrm>
            <a:off x="444843" y="6498236"/>
            <a:ext cx="647831" cy="138499"/>
          </a:xfrm>
        </p:spPr>
        <p:txBody>
          <a:bodyPr/>
          <a:lstStyle/>
          <a:p>
            <a:r>
              <a:rPr lang="de-DE" noProof="0" dirty="0"/>
              <a:t>Februar 2022</a:t>
            </a:r>
          </a:p>
        </p:txBody>
      </p:sp>
      <p:sp>
        <p:nvSpPr>
          <p:cNvPr id="12" name="Fußzeilenplatzhalter 3">
            <a:extLst>
              <a:ext uri="{FF2B5EF4-FFF2-40B4-BE49-F238E27FC236}">
                <a16:creationId xmlns:a16="http://schemas.microsoft.com/office/drawing/2014/main" id="{76A9DBCE-9B64-4FD3-B43A-3CB585CD31E2}"/>
              </a:ext>
            </a:extLst>
          </p:cNvPr>
          <p:cNvSpPr>
            <a:spLocks noGrp="1"/>
          </p:cNvSpPr>
          <p:nvPr>
            <p:ph type="ftr" sz="quarter" idx="11"/>
          </p:nvPr>
        </p:nvSpPr>
        <p:spPr>
          <a:xfrm>
            <a:off x="1099836" y="6498236"/>
            <a:ext cx="9897423" cy="138499"/>
          </a:xfrm>
        </p:spPr>
        <p:txBody>
          <a:bodyPr/>
          <a:lstStyle/>
          <a:p>
            <a:r>
              <a:rPr lang="de-DE" noProof="0" dirty="0"/>
              <a:t>/  nichtneutraler Assistent</a:t>
            </a:r>
          </a:p>
        </p:txBody>
      </p:sp>
    </p:spTree>
    <p:extLst>
      <p:ext uri="{BB962C8B-B14F-4D97-AF65-F5344CB8AC3E}">
        <p14:creationId xmlns:p14="http://schemas.microsoft.com/office/powerpoint/2010/main" val="11672285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a:xfrm>
            <a:off x="446284" y="712800"/>
            <a:ext cx="10113366" cy="371897"/>
          </a:xfrm>
        </p:spPr>
        <p:txBody>
          <a:bodyPr/>
          <a:lstStyle/>
          <a:p>
            <a:r>
              <a:rPr lang="de-DE" sz="2650" dirty="0"/>
              <a:t>Nicht neutraler Assistent</a:t>
            </a:r>
            <a:endParaRPr lang="de-DE" dirty="0"/>
          </a:p>
        </p:txBody>
      </p:sp>
      <p:sp>
        <p:nvSpPr>
          <p:cNvPr id="9" name="Inhaltsplatzhalter 8"/>
          <p:cNvSpPr>
            <a:spLocks noGrp="1"/>
          </p:cNvSpPr>
          <p:nvPr>
            <p:ph idx="1"/>
          </p:nvPr>
        </p:nvSpPr>
        <p:spPr>
          <a:xfrm>
            <a:off x="444843" y="1214759"/>
            <a:ext cx="10951822" cy="4978542"/>
          </a:xfrm>
        </p:spPr>
        <p:txBody>
          <a:bodyPr vert="horz" wrap="square" lIns="0" tIns="0" rIns="0" bIns="0" rtlCol="0" anchor="t">
            <a:spAutoFit/>
          </a:bodyPr>
          <a:lstStyle/>
          <a:p>
            <a:r>
              <a:rPr lang="de-DE" sz="1800" dirty="0"/>
              <a:t>Was sind die Grundlagen für die Zusammenarbeit mit einem nicht neutralen Assistenten </a:t>
            </a:r>
          </a:p>
          <a:p>
            <a:pPr marL="342900" lvl="0" indent="-342900">
              <a:lnSpc>
                <a:spcPts val="1300"/>
              </a:lnSpc>
              <a:buFont typeface="+mj-lt"/>
              <a:buAutoNum type="arabicPeriod"/>
            </a:pPr>
            <a:r>
              <a:rPr lang="de-DE" sz="1400" dirty="0">
                <a:effectLst/>
                <a:latin typeface="DFB Sans Ofc"/>
                <a:ea typeface="DFB Sans Ofc"/>
                <a:cs typeface="Times New Roman" panose="02020603050405020304" pitchFamily="18" charset="0"/>
              </a:rPr>
              <a:t>Was darf ein nichtneutraler Assistent alles anzeigen?</a:t>
            </a:r>
          </a:p>
          <a:p>
            <a:pPr lvl="0">
              <a:lnSpc>
                <a:spcPts val="1300"/>
              </a:lnSpc>
            </a:pPr>
            <a:r>
              <a:rPr lang="de-DE" sz="1400" b="0" dirty="0">
                <a:solidFill>
                  <a:schemeClr val="tx1"/>
                </a:solidFill>
                <a:effectLst/>
                <a:latin typeface="DFB Sans Ofc"/>
                <a:ea typeface="DFB Sans Ofc"/>
                <a:cs typeface="Times New Roman" panose="02020603050405020304" pitchFamily="18" charset="0"/>
              </a:rPr>
              <a:t>Antwort: 	je nach Landesverband ist der nichtneutrale SRA nur befugt Ausbälle an der Seitenlinie anzuzeigen. Dazu hebt er die Fahne. 	Auch eine 	Richtungsanzeige ist in den meisten Fällen nicht gewünscht.</a:t>
            </a:r>
          </a:p>
          <a:p>
            <a:pPr marL="342900" lvl="0" indent="-342900">
              <a:lnSpc>
                <a:spcPts val="1300"/>
              </a:lnSpc>
              <a:buFont typeface="+mj-lt"/>
              <a:buAutoNum type="arabicPeriod" startAt="2"/>
            </a:pPr>
            <a:r>
              <a:rPr lang="de-DE" sz="1400" dirty="0">
                <a:effectLst/>
                <a:latin typeface="DFB Sans Ofc"/>
                <a:ea typeface="DFB Sans Ofc"/>
                <a:cs typeface="Times New Roman" panose="02020603050405020304" pitchFamily="18" charset="0"/>
              </a:rPr>
              <a:t>Was mache ich, wenn er mehr anzeigt?</a:t>
            </a:r>
          </a:p>
          <a:p>
            <a:pPr lvl="0">
              <a:lnSpc>
                <a:spcPts val="1300"/>
              </a:lnSpc>
            </a:pPr>
            <a:r>
              <a:rPr lang="de-DE" sz="1400" b="0" dirty="0">
                <a:solidFill>
                  <a:schemeClr val="tx1"/>
                </a:solidFill>
                <a:effectLst/>
                <a:latin typeface="DFB Sans Ofc"/>
                <a:ea typeface="DFB Sans Ofc"/>
                <a:cs typeface="Times New Roman" panose="02020603050405020304" pitchFamily="18" charset="0"/>
              </a:rPr>
              <a:t>Antwort: 	Vorher klar ansprechen, sofern das nicht möglich oder nötig war, dann auch den Kontakt mit dem SRA in einer Spielruhe suchen. 	Möglichst deeskalierend agieren, kurzen Umriss der Tätigkeiten schildern – welche Erwartung hat man an den SRA </a:t>
            </a:r>
          </a:p>
          <a:p>
            <a:pPr marL="342900" indent="-342900">
              <a:lnSpc>
                <a:spcPts val="1300"/>
              </a:lnSpc>
              <a:buFont typeface="+mj-lt"/>
              <a:buAutoNum type="arabicPeriod" startAt="3"/>
            </a:pPr>
            <a:r>
              <a:rPr lang="de-DE" sz="1400" dirty="0">
                <a:effectLst/>
                <a:latin typeface="DFB Sans Ofc"/>
                <a:ea typeface="DFB Sans Ofc"/>
                <a:cs typeface="Times New Roman" panose="02020603050405020304" pitchFamily="18" charset="0"/>
              </a:rPr>
              <a:t> Was habe ich für Möglichkeiten, wenn der nichtneutrale SRA sich nicht korrekt verhält / über seine abgesprochene Hilfeleistung geht?</a:t>
            </a:r>
          </a:p>
          <a:p>
            <a:pPr>
              <a:lnSpc>
                <a:spcPts val="1300"/>
              </a:lnSpc>
            </a:pPr>
            <a:r>
              <a:rPr lang="de-DE" sz="1400" b="0" dirty="0">
                <a:solidFill>
                  <a:schemeClr val="tx1"/>
                </a:solidFill>
                <a:effectLst/>
                <a:latin typeface="DFB Sans Ofc"/>
                <a:ea typeface="DFB Sans Ofc"/>
                <a:cs typeface="Times New Roman" panose="02020603050405020304" pitchFamily="18" charset="0"/>
              </a:rPr>
              <a:t>Antwort: 	wie unter 2 geschildert, ist zunächst eine kurze Kontaktaufnahme sinnvoll. Wir wollen ja einen Helfer nicht zwingend verprellen.</a:t>
            </a:r>
          </a:p>
          <a:p>
            <a:pPr marL="342900" indent="-342900">
              <a:lnSpc>
                <a:spcPts val="1300"/>
              </a:lnSpc>
              <a:buFont typeface="+mj-lt"/>
              <a:buAutoNum type="arabicPeriod" startAt="4"/>
            </a:pPr>
            <a:r>
              <a:rPr lang="de-DE" sz="1400" dirty="0">
                <a:effectLst/>
                <a:latin typeface="DFB Sans Ofc"/>
                <a:ea typeface="DFB Sans Ofc"/>
                <a:cs typeface="Times New Roman" panose="02020603050405020304" pitchFamily="18" charset="0"/>
              </a:rPr>
              <a:t> Welche Disziplinarmöglichkeiten habe ich?</a:t>
            </a:r>
          </a:p>
          <a:p>
            <a:pPr>
              <a:lnSpc>
                <a:spcPts val="1300"/>
              </a:lnSpc>
            </a:pPr>
            <a:r>
              <a:rPr lang="de-DE" sz="1400" b="0" dirty="0">
                <a:solidFill>
                  <a:schemeClr val="tx1"/>
                </a:solidFill>
                <a:effectLst/>
                <a:latin typeface="DFB Sans Ofc"/>
                <a:ea typeface="DFB Sans Ofc"/>
                <a:cs typeface="Times New Roman" panose="02020603050405020304" pitchFamily="18" charset="0"/>
              </a:rPr>
              <a:t>Antwort: 	Grundsätzlich ist der nichtneutrale SRA ein Spieloffizieller und unterliegt mit diesem Status der Strafgewalt des Schiedsrichters. 	Allerdings kann gegen ihn keine persönliche Strafe (VW) ausgesprochen werden, solange er sein Amt innehat. Er kann also nur seines 	Amtes enthoben werden und ausgetauscht werden. Im Zweifel kann ein Spiel auch ohne einen nichtneutralen SRA stattfinden. Hat der 	nichtneutrale SRA er eine Doppelfunktion (ist er also auch noch Betreuer), dann kann er während seiner Tätigkeit als SRA auch nicht 	persönliche belangt werden. Ist er nicht mehr Assistent, dann wird er wie ein normaler Betreuer behandelt und kann mit persönlichen 	Strafen belangt werden</a:t>
            </a:r>
          </a:p>
          <a:p>
            <a:pPr marL="342900" indent="-342900">
              <a:lnSpc>
                <a:spcPts val="1300"/>
              </a:lnSpc>
              <a:buFont typeface="+mj-lt"/>
              <a:buAutoNum type="arabicPeriod" startAt="5"/>
            </a:pPr>
            <a:r>
              <a:rPr lang="de-DE" sz="1400" dirty="0">
                <a:effectLst/>
                <a:latin typeface="DFB Sans Ofc"/>
                <a:ea typeface="DFB Sans Ofc"/>
                <a:cs typeface="Times New Roman" panose="02020603050405020304" pitchFamily="18" charset="0"/>
              </a:rPr>
              <a:t> Muss ich was im Spielbericht vermerken?</a:t>
            </a:r>
          </a:p>
          <a:p>
            <a:pPr>
              <a:lnSpc>
                <a:spcPts val="1300"/>
              </a:lnSpc>
            </a:pPr>
            <a:r>
              <a:rPr lang="de-DE" sz="1400" b="0" dirty="0">
                <a:solidFill>
                  <a:schemeClr val="tx1"/>
                </a:solidFill>
                <a:effectLst/>
                <a:latin typeface="DFB Sans Ofc"/>
                <a:ea typeface="DFB Sans Ofc"/>
                <a:cs typeface="Times New Roman" panose="02020603050405020304" pitchFamily="18" charset="0"/>
              </a:rPr>
              <a:t>Antwort: 	Ja, Besonderheiten rund um den nichtneutralen SRA müssen auch im Spielbericht vermerkt werden. </a:t>
            </a:r>
          </a:p>
          <a:p>
            <a:pPr marL="285750" lvl="1" indent="-285750">
              <a:buChar char="•"/>
            </a:pPr>
            <a:endParaRPr lang="de-DE" dirty="0"/>
          </a:p>
        </p:txBody>
      </p:sp>
      <p:sp>
        <p:nvSpPr>
          <p:cNvPr id="2" name="Foliennummernplatzhalter 1"/>
          <p:cNvSpPr>
            <a:spLocks noGrp="1"/>
          </p:cNvSpPr>
          <p:nvPr>
            <p:ph type="sldNum" sz="quarter" idx="12"/>
          </p:nvPr>
        </p:nvSpPr>
        <p:spPr/>
        <p:txBody>
          <a:bodyPr/>
          <a:lstStyle/>
          <a:p>
            <a:r>
              <a:rPr lang="de-DE" noProof="0" dirty="0"/>
              <a:t>Seite </a:t>
            </a:r>
            <a:fld id="{105F6080-11B6-4F5B-BFCF-ADAD48E4948B}" type="slidenum">
              <a:rPr lang="de-DE" noProof="0" smtClean="0"/>
              <a:pPr/>
              <a:t>4</a:t>
            </a:fld>
            <a:endParaRPr lang="de-DE" noProof="0" dirty="0"/>
          </a:p>
        </p:txBody>
      </p:sp>
      <p:sp>
        <p:nvSpPr>
          <p:cNvPr id="10" name="Textplatzhalter 9"/>
          <p:cNvSpPr>
            <a:spLocks noGrp="1"/>
          </p:cNvSpPr>
          <p:nvPr>
            <p:ph type="body" sz="quarter" idx="16"/>
          </p:nvPr>
        </p:nvSpPr>
        <p:spPr/>
        <p:txBody>
          <a:bodyPr/>
          <a:lstStyle/>
          <a:p>
            <a:r>
              <a:rPr lang="de-DE" dirty="0"/>
              <a:t>Grundregeln</a:t>
            </a:r>
          </a:p>
        </p:txBody>
      </p:sp>
      <p:sp>
        <p:nvSpPr>
          <p:cNvPr id="11" name="Datumsplatzhalter 1">
            <a:extLst>
              <a:ext uri="{FF2B5EF4-FFF2-40B4-BE49-F238E27FC236}">
                <a16:creationId xmlns:a16="http://schemas.microsoft.com/office/drawing/2014/main" id="{A7670090-1217-4519-8BB3-3D956939CDB8}"/>
              </a:ext>
            </a:extLst>
          </p:cNvPr>
          <p:cNvSpPr>
            <a:spLocks noGrp="1"/>
          </p:cNvSpPr>
          <p:nvPr>
            <p:ph type="dt" sz="half" idx="10"/>
          </p:nvPr>
        </p:nvSpPr>
        <p:spPr bwMode="gray">
          <a:xfrm>
            <a:off x="444843" y="6498236"/>
            <a:ext cx="647831" cy="138499"/>
          </a:xfrm>
        </p:spPr>
        <p:txBody>
          <a:bodyPr/>
          <a:lstStyle/>
          <a:p>
            <a:r>
              <a:rPr lang="de-DE" noProof="0" dirty="0"/>
              <a:t>Februar 2022</a:t>
            </a:r>
          </a:p>
        </p:txBody>
      </p:sp>
      <p:sp>
        <p:nvSpPr>
          <p:cNvPr id="12" name="Fußzeilenplatzhalter 3">
            <a:extLst>
              <a:ext uri="{FF2B5EF4-FFF2-40B4-BE49-F238E27FC236}">
                <a16:creationId xmlns:a16="http://schemas.microsoft.com/office/drawing/2014/main" id="{D536F8E3-4721-48A4-BFA8-EABADD975322}"/>
              </a:ext>
            </a:extLst>
          </p:cNvPr>
          <p:cNvSpPr>
            <a:spLocks noGrp="1"/>
          </p:cNvSpPr>
          <p:nvPr>
            <p:ph type="ftr" sz="quarter" idx="11"/>
          </p:nvPr>
        </p:nvSpPr>
        <p:spPr>
          <a:xfrm>
            <a:off x="1099836" y="6498236"/>
            <a:ext cx="9897423" cy="138499"/>
          </a:xfrm>
        </p:spPr>
        <p:txBody>
          <a:bodyPr/>
          <a:lstStyle/>
          <a:p>
            <a:r>
              <a:rPr lang="de-DE" noProof="0" dirty="0"/>
              <a:t>/  nichtneutraler Assistent</a:t>
            </a:r>
          </a:p>
        </p:txBody>
      </p:sp>
    </p:spTree>
    <p:extLst>
      <p:ext uri="{BB962C8B-B14F-4D97-AF65-F5344CB8AC3E}">
        <p14:creationId xmlns:p14="http://schemas.microsoft.com/office/powerpoint/2010/main" val="17794441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46284" y="712800"/>
            <a:ext cx="10113366" cy="371897"/>
          </a:xfrm>
        </p:spPr>
        <p:txBody>
          <a:bodyPr/>
          <a:lstStyle/>
          <a:p>
            <a:r>
              <a:rPr lang="de-DE" dirty="0"/>
              <a:t>sPIELFELD</a:t>
            </a:r>
          </a:p>
        </p:txBody>
      </p:sp>
      <p:sp>
        <p:nvSpPr>
          <p:cNvPr id="6" name="Foliennummernplatzhalter 5"/>
          <p:cNvSpPr>
            <a:spLocks noGrp="1"/>
          </p:cNvSpPr>
          <p:nvPr>
            <p:ph type="sldNum" sz="quarter" idx="12"/>
          </p:nvPr>
        </p:nvSpPr>
        <p:spPr/>
        <p:txBody>
          <a:bodyPr/>
          <a:lstStyle/>
          <a:p>
            <a:r>
              <a:rPr lang="de-DE" noProof="0" dirty="0"/>
              <a:t>Seite </a:t>
            </a:r>
            <a:fld id="{105F6080-11B6-4F5B-BFCF-ADAD48E4948B}" type="slidenum">
              <a:rPr lang="de-DE" noProof="0" dirty="0" smtClean="0"/>
              <a:pPr/>
              <a:t>5</a:t>
            </a:fld>
            <a:endParaRPr lang="de-DE" noProof="0" dirty="0"/>
          </a:p>
        </p:txBody>
      </p:sp>
      <p:sp>
        <p:nvSpPr>
          <p:cNvPr id="43" name="Textplatzhalter 42"/>
          <p:cNvSpPr>
            <a:spLocks noGrp="1"/>
          </p:cNvSpPr>
          <p:nvPr>
            <p:ph type="body" sz="quarter" idx="16"/>
          </p:nvPr>
        </p:nvSpPr>
        <p:spPr/>
        <p:txBody>
          <a:bodyPr/>
          <a:lstStyle/>
          <a:p>
            <a:r>
              <a:rPr lang="de-DE" dirty="0"/>
              <a:t>musterfolien</a:t>
            </a:r>
          </a:p>
        </p:txBody>
      </p:sp>
      <p:sp>
        <p:nvSpPr>
          <p:cNvPr id="13" name="Freeform 5"/>
          <p:cNvSpPr>
            <a:spLocks noChangeAspect="1" noEditPoints="1"/>
          </p:cNvSpPr>
          <p:nvPr/>
        </p:nvSpPr>
        <p:spPr bwMode="gray">
          <a:xfrm>
            <a:off x="2560812" y="1665288"/>
            <a:ext cx="7070377" cy="4500562"/>
          </a:xfrm>
          <a:custGeom>
            <a:avLst/>
            <a:gdLst>
              <a:gd name="T0" fmla="*/ 2488 w 4204"/>
              <a:gd name="T1" fmla="*/ 1337 h 2674"/>
              <a:gd name="T2" fmla="*/ 2102 w 4204"/>
              <a:gd name="T3" fmla="*/ 1722 h 2674"/>
              <a:gd name="T4" fmla="*/ 1717 w 4204"/>
              <a:gd name="T5" fmla="*/ 1337 h 2674"/>
              <a:gd name="T6" fmla="*/ 2102 w 4204"/>
              <a:gd name="T7" fmla="*/ 951 h 2674"/>
              <a:gd name="T8" fmla="*/ 2488 w 4204"/>
              <a:gd name="T9" fmla="*/ 1337 h 2674"/>
              <a:gd name="T10" fmla="*/ 4204 w 4204"/>
              <a:gd name="T11" fmla="*/ 2674 h 2674"/>
              <a:gd name="T12" fmla="*/ 0 w 4204"/>
              <a:gd name="T13" fmla="*/ 2674 h 2674"/>
              <a:gd name="T14" fmla="*/ 0 w 4204"/>
              <a:gd name="T15" fmla="*/ 0 h 2674"/>
              <a:gd name="T16" fmla="*/ 4204 w 4204"/>
              <a:gd name="T17" fmla="*/ 0 h 2674"/>
              <a:gd name="T18" fmla="*/ 4204 w 4204"/>
              <a:gd name="T19" fmla="*/ 2674 h 2674"/>
              <a:gd name="T20" fmla="*/ 0 w 4204"/>
              <a:gd name="T21" fmla="*/ 951 h 2674"/>
              <a:gd name="T22" fmla="*/ 0 w 4204"/>
              <a:gd name="T23" fmla="*/ 951 h 2674"/>
              <a:gd name="T24" fmla="*/ 0 w 4204"/>
              <a:gd name="T25" fmla="*/ 504 h 2674"/>
              <a:gd name="T26" fmla="*/ 0 w 4204"/>
              <a:gd name="T27" fmla="*/ 504 h 2674"/>
              <a:gd name="T28" fmla="*/ 4204 w 4204"/>
              <a:gd name="T29" fmla="*/ 2170 h 2674"/>
              <a:gd name="T30" fmla="*/ 3504 w 4204"/>
              <a:gd name="T31" fmla="*/ 2170 h 2674"/>
              <a:gd name="T32" fmla="*/ 3504 w 4204"/>
              <a:gd name="T33" fmla="*/ 504 h 2674"/>
              <a:gd name="T34" fmla="*/ 4204 w 4204"/>
              <a:gd name="T35" fmla="*/ 504 h 2674"/>
              <a:gd name="T36" fmla="*/ 2102 w 4204"/>
              <a:gd name="T37" fmla="*/ 2674 h 2674"/>
              <a:gd name="T38" fmla="*/ 2102 w 4204"/>
              <a:gd name="T39" fmla="*/ 0 h 2674"/>
              <a:gd name="T40" fmla="*/ 4204 w 4204"/>
              <a:gd name="T41" fmla="*/ 1723 h 2674"/>
              <a:gd name="T42" fmla="*/ 3978 w 4204"/>
              <a:gd name="T43" fmla="*/ 1723 h 2674"/>
              <a:gd name="T44" fmla="*/ 3978 w 4204"/>
              <a:gd name="T45" fmla="*/ 951 h 2674"/>
              <a:gd name="T46" fmla="*/ 4204 w 4204"/>
              <a:gd name="T47" fmla="*/ 951 h 2674"/>
              <a:gd name="T48" fmla="*/ 3504 w 4204"/>
              <a:gd name="T49" fmla="*/ 1028 h 2674"/>
              <a:gd name="T50" fmla="*/ 3349 w 4204"/>
              <a:gd name="T51" fmla="*/ 1337 h 2674"/>
              <a:gd name="T52" fmla="*/ 3504 w 4204"/>
              <a:gd name="T53" fmla="*/ 1645 h 2674"/>
              <a:gd name="T54" fmla="*/ 4107 w 4204"/>
              <a:gd name="T55" fmla="*/ 2674 h 2674"/>
              <a:gd name="T56" fmla="*/ 4204 w 4204"/>
              <a:gd name="T57" fmla="*/ 2576 h 2674"/>
              <a:gd name="T58" fmla="*/ 4204 w 4204"/>
              <a:gd name="T59" fmla="*/ 97 h 2674"/>
              <a:gd name="T60" fmla="*/ 4107 w 4204"/>
              <a:gd name="T61" fmla="*/ 0 h 2674"/>
              <a:gd name="T62" fmla="*/ 0 w 4204"/>
              <a:gd name="T63" fmla="*/ 2170 h 2674"/>
              <a:gd name="T64" fmla="*/ 700 w 4204"/>
              <a:gd name="T65" fmla="*/ 2170 h 2674"/>
              <a:gd name="T66" fmla="*/ 700 w 4204"/>
              <a:gd name="T67" fmla="*/ 504 h 2674"/>
              <a:gd name="T68" fmla="*/ 0 w 4204"/>
              <a:gd name="T69" fmla="*/ 504 h 2674"/>
              <a:gd name="T70" fmla="*/ 0 w 4204"/>
              <a:gd name="T71" fmla="*/ 1723 h 2674"/>
              <a:gd name="T72" fmla="*/ 226 w 4204"/>
              <a:gd name="T73" fmla="*/ 1723 h 2674"/>
              <a:gd name="T74" fmla="*/ 226 w 4204"/>
              <a:gd name="T75" fmla="*/ 951 h 2674"/>
              <a:gd name="T76" fmla="*/ 0 w 4204"/>
              <a:gd name="T77" fmla="*/ 951 h 2674"/>
              <a:gd name="T78" fmla="*/ 700 w 4204"/>
              <a:gd name="T79" fmla="*/ 1645 h 2674"/>
              <a:gd name="T80" fmla="*/ 855 w 4204"/>
              <a:gd name="T81" fmla="*/ 1337 h 2674"/>
              <a:gd name="T82" fmla="*/ 700 w 4204"/>
              <a:gd name="T83" fmla="*/ 1028 h 2674"/>
              <a:gd name="T84" fmla="*/ 97 w 4204"/>
              <a:gd name="T85" fmla="*/ 2674 h 2674"/>
              <a:gd name="T86" fmla="*/ 0 w 4204"/>
              <a:gd name="T87" fmla="*/ 2576 h 2674"/>
              <a:gd name="T88" fmla="*/ 0 w 4204"/>
              <a:gd name="T89" fmla="*/ 97 h 2674"/>
              <a:gd name="T90" fmla="*/ 97 w 4204"/>
              <a:gd name="T91" fmla="*/ 0 h 2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204" h="2674">
                <a:moveTo>
                  <a:pt x="2488" y="1337"/>
                </a:moveTo>
                <a:cubicBezTo>
                  <a:pt x="2488" y="1550"/>
                  <a:pt x="2315" y="1722"/>
                  <a:pt x="2102" y="1722"/>
                </a:cubicBezTo>
                <a:cubicBezTo>
                  <a:pt x="1889" y="1722"/>
                  <a:pt x="1717" y="1550"/>
                  <a:pt x="1717" y="1337"/>
                </a:cubicBezTo>
                <a:cubicBezTo>
                  <a:pt x="1717" y="1124"/>
                  <a:pt x="1889" y="951"/>
                  <a:pt x="2102" y="951"/>
                </a:cubicBezTo>
                <a:cubicBezTo>
                  <a:pt x="2315" y="951"/>
                  <a:pt x="2488" y="1124"/>
                  <a:pt x="2488" y="1337"/>
                </a:cubicBezTo>
                <a:close/>
                <a:moveTo>
                  <a:pt x="4204" y="2674"/>
                </a:moveTo>
                <a:cubicBezTo>
                  <a:pt x="0" y="2674"/>
                  <a:pt x="0" y="2674"/>
                  <a:pt x="0" y="2674"/>
                </a:cubicBezTo>
                <a:cubicBezTo>
                  <a:pt x="0" y="0"/>
                  <a:pt x="0" y="0"/>
                  <a:pt x="0" y="0"/>
                </a:cubicBezTo>
                <a:cubicBezTo>
                  <a:pt x="4204" y="0"/>
                  <a:pt x="4204" y="0"/>
                  <a:pt x="4204" y="0"/>
                </a:cubicBezTo>
                <a:lnTo>
                  <a:pt x="4204" y="2674"/>
                </a:lnTo>
                <a:close/>
                <a:moveTo>
                  <a:pt x="0" y="951"/>
                </a:moveTo>
                <a:cubicBezTo>
                  <a:pt x="0" y="951"/>
                  <a:pt x="0" y="951"/>
                  <a:pt x="0" y="951"/>
                </a:cubicBezTo>
                <a:moveTo>
                  <a:pt x="0" y="504"/>
                </a:moveTo>
                <a:cubicBezTo>
                  <a:pt x="0" y="504"/>
                  <a:pt x="0" y="504"/>
                  <a:pt x="0" y="504"/>
                </a:cubicBezTo>
                <a:moveTo>
                  <a:pt x="4204" y="2170"/>
                </a:moveTo>
                <a:cubicBezTo>
                  <a:pt x="3504" y="2170"/>
                  <a:pt x="3504" y="2170"/>
                  <a:pt x="3504" y="2170"/>
                </a:cubicBezTo>
                <a:cubicBezTo>
                  <a:pt x="3504" y="504"/>
                  <a:pt x="3504" y="504"/>
                  <a:pt x="3504" y="504"/>
                </a:cubicBezTo>
                <a:cubicBezTo>
                  <a:pt x="4204" y="504"/>
                  <a:pt x="4204" y="504"/>
                  <a:pt x="4204" y="504"/>
                </a:cubicBezTo>
                <a:moveTo>
                  <a:pt x="2102" y="2674"/>
                </a:moveTo>
                <a:cubicBezTo>
                  <a:pt x="2102" y="0"/>
                  <a:pt x="2102" y="0"/>
                  <a:pt x="2102" y="0"/>
                </a:cubicBezTo>
                <a:moveTo>
                  <a:pt x="4204" y="1723"/>
                </a:moveTo>
                <a:cubicBezTo>
                  <a:pt x="3978" y="1723"/>
                  <a:pt x="3978" y="1723"/>
                  <a:pt x="3978" y="1723"/>
                </a:cubicBezTo>
                <a:cubicBezTo>
                  <a:pt x="3978" y="951"/>
                  <a:pt x="3978" y="951"/>
                  <a:pt x="3978" y="951"/>
                </a:cubicBezTo>
                <a:cubicBezTo>
                  <a:pt x="4204" y="951"/>
                  <a:pt x="4204" y="951"/>
                  <a:pt x="4204" y="951"/>
                </a:cubicBezTo>
                <a:moveTo>
                  <a:pt x="3504" y="1028"/>
                </a:moveTo>
                <a:cubicBezTo>
                  <a:pt x="3410" y="1098"/>
                  <a:pt x="3349" y="1210"/>
                  <a:pt x="3349" y="1337"/>
                </a:cubicBezTo>
                <a:cubicBezTo>
                  <a:pt x="3349" y="1463"/>
                  <a:pt x="3410" y="1575"/>
                  <a:pt x="3504" y="1645"/>
                </a:cubicBezTo>
                <a:moveTo>
                  <a:pt x="4107" y="2674"/>
                </a:moveTo>
                <a:cubicBezTo>
                  <a:pt x="4107" y="2620"/>
                  <a:pt x="4150" y="2576"/>
                  <a:pt x="4204" y="2576"/>
                </a:cubicBezTo>
                <a:moveTo>
                  <a:pt x="4204" y="97"/>
                </a:moveTo>
                <a:cubicBezTo>
                  <a:pt x="4150" y="97"/>
                  <a:pt x="4107" y="54"/>
                  <a:pt x="4107" y="0"/>
                </a:cubicBezTo>
                <a:moveTo>
                  <a:pt x="0" y="2170"/>
                </a:moveTo>
                <a:cubicBezTo>
                  <a:pt x="700" y="2170"/>
                  <a:pt x="700" y="2170"/>
                  <a:pt x="700" y="2170"/>
                </a:cubicBezTo>
                <a:cubicBezTo>
                  <a:pt x="700" y="504"/>
                  <a:pt x="700" y="504"/>
                  <a:pt x="700" y="504"/>
                </a:cubicBezTo>
                <a:cubicBezTo>
                  <a:pt x="0" y="504"/>
                  <a:pt x="0" y="504"/>
                  <a:pt x="0" y="504"/>
                </a:cubicBezTo>
                <a:moveTo>
                  <a:pt x="0" y="1723"/>
                </a:moveTo>
                <a:cubicBezTo>
                  <a:pt x="226" y="1723"/>
                  <a:pt x="226" y="1723"/>
                  <a:pt x="226" y="1723"/>
                </a:cubicBezTo>
                <a:cubicBezTo>
                  <a:pt x="226" y="951"/>
                  <a:pt x="226" y="951"/>
                  <a:pt x="226" y="951"/>
                </a:cubicBezTo>
                <a:cubicBezTo>
                  <a:pt x="0" y="951"/>
                  <a:pt x="0" y="951"/>
                  <a:pt x="0" y="951"/>
                </a:cubicBezTo>
                <a:moveTo>
                  <a:pt x="700" y="1645"/>
                </a:moveTo>
                <a:cubicBezTo>
                  <a:pt x="794" y="1575"/>
                  <a:pt x="855" y="1463"/>
                  <a:pt x="855" y="1337"/>
                </a:cubicBezTo>
                <a:cubicBezTo>
                  <a:pt x="855" y="1210"/>
                  <a:pt x="794" y="1098"/>
                  <a:pt x="700" y="1028"/>
                </a:cubicBezTo>
                <a:moveTo>
                  <a:pt x="97" y="2674"/>
                </a:moveTo>
                <a:cubicBezTo>
                  <a:pt x="97" y="2620"/>
                  <a:pt x="54" y="2576"/>
                  <a:pt x="0" y="2576"/>
                </a:cubicBezTo>
                <a:moveTo>
                  <a:pt x="0" y="97"/>
                </a:moveTo>
                <a:cubicBezTo>
                  <a:pt x="54" y="97"/>
                  <a:pt x="97" y="54"/>
                  <a:pt x="97" y="0"/>
                </a:cubicBezTo>
              </a:path>
            </a:pathLst>
          </a:custGeom>
          <a:noFill/>
          <a:ln w="53975" cap="flat">
            <a:solidFill>
              <a:srgbClr val="20AE8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ctr"/>
            <a:endParaRPr lang="de-DE" dirty="0"/>
          </a:p>
        </p:txBody>
      </p:sp>
      <p:sp>
        <p:nvSpPr>
          <p:cNvPr id="8" name="Datumsplatzhalter 1">
            <a:extLst>
              <a:ext uri="{FF2B5EF4-FFF2-40B4-BE49-F238E27FC236}">
                <a16:creationId xmlns:a16="http://schemas.microsoft.com/office/drawing/2014/main" id="{8A51769B-6E62-47F7-BFF6-7CC124BF7252}"/>
              </a:ext>
            </a:extLst>
          </p:cNvPr>
          <p:cNvSpPr>
            <a:spLocks noGrp="1"/>
          </p:cNvSpPr>
          <p:nvPr>
            <p:ph type="dt" sz="half" idx="10"/>
          </p:nvPr>
        </p:nvSpPr>
        <p:spPr bwMode="gray">
          <a:xfrm>
            <a:off x="444843" y="6498236"/>
            <a:ext cx="647831" cy="138499"/>
          </a:xfrm>
        </p:spPr>
        <p:txBody>
          <a:bodyPr/>
          <a:lstStyle/>
          <a:p>
            <a:r>
              <a:rPr lang="de-DE" noProof="0" dirty="0"/>
              <a:t>Februar 2022</a:t>
            </a:r>
          </a:p>
        </p:txBody>
      </p:sp>
      <p:sp>
        <p:nvSpPr>
          <p:cNvPr id="9" name="Fußzeilenplatzhalter 3">
            <a:extLst>
              <a:ext uri="{FF2B5EF4-FFF2-40B4-BE49-F238E27FC236}">
                <a16:creationId xmlns:a16="http://schemas.microsoft.com/office/drawing/2014/main" id="{EC41D28E-6EEA-4C8E-84F6-6A32E1749B7D}"/>
              </a:ext>
            </a:extLst>
          </p:cNvPr>
          <p:cNvSpPr>
            <a:spLocks noGrp="1"/>
          </p:cNvSpPr>
          <p:nvPr>
            <p:ph type="ftr" sz="quarter" idx="11"/>
          </p:nvPr>
        </p:nvSpPr>
        <p:spPr>
          <a:xfrm>
            <a:off x="1099836" y="6498236"/>
            <a:ext cx="9897423" cy="138499"/>
          </a:xfrm>
        </p:spPr>
        <p:txBody>
          <a:bodyPr/>
          <a:lstStyle/>
          <a:p>
            <a:r>
              <a:rPr lang="de-DE" noProof="0" dirty="0"/>
              <a:t>/  nichtneutraler Assistent</a:t>
            </a:r>
          </a:p>
        </p:txBody>
      </p:sp>
    </p:spTree>
    <p:extLst>
      <p:ext uri="{BB962C8B-B14F-4D97-AF65-F5344CB8AC3E}">
        <p14:creationId xmlns:p14="http://schemas.microsoft.com/office/powerpoint/2010/main" val="24930864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e-DE" dirty="0"/>
              <a:t>Viel Erfolg bei der Präsentationserstellung</a:t>
            </a:r>
          </a:p>
        </p:txBody>
      </p:sp>
      <p:sp>
        <p:nvSpPr>
          <p:cNvPr id="3" name="Untertitel 2"/>
          <p:cNvSpPr>
            <a:spLocks noGrp="1"/>
          </p:cNvSpPr>
          <p:nvPr>
            <p:ph type="subTitle" idx="1"/>
          </p:nvPr>
        </p:nvSpPr>
        <p:spPr>
          <a:xfrm>
            <a:off x="444843" y="4981934"/>
            <a:ext cx="11301057" cy="243656"/>
          </a:xfrm>
        </p:spPr>
        <p:txBody>
          <a:bodyPr/>
          <a:lstStyle/>
          <a:p>
            <a:r>
              <a:rPr lang="de-DE" dirty="0"/>
              <a:t>Vielen Dank für ihre Aufmerksamkeit</a:t>
            </a:r>
          </a:p>
        </p:txBody>
      </p:sp>
    </p:spTree>
    <p:extLst>
      <p:ext uri="{BB962C8B-B14F-4D97-AF65-F5344CB8AC3E}">
        <p14:creationId xmlns:p14="http://schemas.microsoft.com/office/powerpoint/2010/main" val="15020662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FB">
  <a:themeElements>
    <a:clrScheme name="DFB final_2016">
      <a:dk1>
        <a:sysClr val="windowText" lastClr="000000"/>
      </a:dk1>
      <a:lt1>
        <a:sysClr val="window" lastClr="FFFFFF"/>
      </a:lt1>
      <a:dk2>
        <a:srgbClr val="000000"/>
      </a:dk2>
      <a:lt2>
        <a:srgbClr val="878787"/>
      </a:lt2>
      <a:accent1>
        <a:srgbClr val="00965A"/>
      </a:accent1>
      <a:accent2>
        <a:srgbClr val="20AE80"/>
      </a:accent2>
      <a:accent3>
        <a:srgbClr val="878787"/>
      </a:accent3>
      <a:accent4>
        <a:srgbClr val="000000"/>
      </a:accent4>
      <a:accent5>
        <a:srgbClr val="FFCC00"/>
      </a:accent5>
      <a:accent6>
        <a:srgbClr val="E60000"/>
      </a:accent6>
      <a:hlink>
        <a:srgbClr val="0000FF"/>
      </a:hlink>
      <a:folHlink>
        <a:srgbClr val="800080"/>
      </a:folHlink>
    </a:clrScheme>
    <a:fontScheme name="DFB final_2016">
      <a:majorFont>
        <a:latin typeface="DFB Sans Ofc"/>
        <a:ea typeface=""/>
        <a:cs typeface=""/>
      </a:majorFont>
      <a:minorFont>
        <a:latin typeface="DFB Sans Ofc"/>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lIns="72000" tIns="72000" rIns="72000" bIns="72000" rtlCol="0" anchor="t" anchorCtr="0"/>
      <a:lstStyle>
        <a:defPPr marL="180000" indent="-180000" algn="l">
          <a:lnSpc>
            <a:spcPts val="2000"/>
          </a:lnSpc>
          <a:spcBef>
            <a:spcPts val="400"/>
          </a:spcBef>
          <a:buClr>
            <a:schemeClr val="bg1"/>
          </a:buClr>
          <a:buFont typeface="DFB Sans Ofc" panose="020B0503030500020204"/>
          <a:buChar cha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tailEnd type="none" w="med" len="sm"/>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180000" indent="-180000">
          <a:lnSpc>
            <a:spcPts val="2000"/>
          </a:lnSpc>
          <a:spcBef>
            <a:spcPts val="400"/>
          </a:spcBef>
          <a:buClr>
            <a:schemeClr val="accent2"/>
          </a:buClr>
          <a:buFont typeface="DFB Sans Ofc" panose="020B0503030500020204"/>
          <a:buChar char="›"/>
          <a:defRPr sz="1600" dirty="0" err="1" smtClean="0"/>
        </a:defPPr>
      </a:lstStyle>
    </a:txDef>
  </a:objectDefaults>
  <a:extraClrSchemeLst/>
  <a:custClrLst>
    <a:custClr name="DFB-Hellgrün 45%">
      <a:srgbClr val="9BDCC8"/>
    </a:custClr>
    <a:custClr name="DFB-Hellgrau">
      <a:srgbClr val="D2D2D2"/>
    </a:custClr>
    <a:custClr name="DFB-Blau">
      <a:srgbClr val="004187"/>
    </a:custClr>
    <a:custClr name="DFB-Hellblau">
      <a:srgbClr val="A5D2F0"/>
    </a:custClr>
  </a:custClrLst>
  <a:extLst>
    <a:ext uri="{05A4C25C-085E-4340-85A3-A5531E510DB2}">
      <thm15:themeFamily xmlns:thm15="http://schemas.microsoft.com/office/thememl/2012/main" name="DFB_template_scr03.potx" id="{A35E7F0C-3BE2-46ED-97D5-865806964E3C}" vid="{FD0FDBD7-2994-40BE-863F-DBF2795AEC1B}"/>
    </a:ext>
  </a:extLst>
</a:theme>
</file>

<file path=ppt/theme/theme2.xml><?xml version="1.0" encoding="utf-8"?>
<a:theme xmlns:a="http://schemas.openxmlformats.org/drawingml/2006/main" name="Office">
  <a:themeElements>
    <a:clrScheme name="DFB final_2016">
      <a:dk1>
        <a:sysClr val="windowText" lastClr="000000"/>
      </a:dk1>
      <a:lt1>
        <a:sysClr val="window" lastClr="FFFFFF"/>
      </a:lt1>
      <a:dk2>
        <a:srgbClr val="000000"/>
      </a:dk2>
      <a:lt2>
        <a:srgbClr val="878787"/>
      </a:lt2>
      <a:accent1>
        <a:srgbClr val="00965A"/>
      </a:accent1>
      <a:accent2>
        <a:srgbClr val="20AE80"/>
      </a:accent2>
      <a:accent3>
        <a:srgbClr val="878787"/>
      </a:accent3>
      <a:accent4>
        <a:srgbClr val="000000"/>
      </a:accent4>
      <a:accent5>
        <a:srgbClr val="FFCC00"/>
      </a:accent5>
      <a:accent6>
        <a:srgbClr val="E60000"/>
      </a:accent6>
      <a:hlink>
        <a:srgbClr val="0000FF"/>
      </a:hlink>
      <a:folHlink>
        <a:srgbClr val="800080"/>
      </a:folHlink>
    </a:clrScheme>
    <a:fontScheme name="DFB final_2016">
      <a:majorFont>
        <a:latin typeface="DFB Sans Ofc"/>
        <a:ea typeface=""/>
        <a:cs typeface=""/>
      </a:majorFont>
      <a:minorFont>
        <a:latin typeface="DFB Sans Of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DFB final_2016">
      <a:dk1>
        <a:sysClr val="windowText" lastClr="000000"/>
      </a:dk1>
      <a:lt1>
        <a:sysClr val="window" lastClr="FFFFFF"/>
      </a:lt1>
      <a:dk2>
        <a:srgbClr val="000000"/>
      </a:dk2>
      <a:lt2>
        <a:srgbClr val="878787"/>
      </a:lt2>
      <a:accent1>
        <a:srgbClr val="00965A"/>
      </a:accent1>
      <a:accent2>
        <a:srgbClr val="20AE80"/>
      </a:accent2>
      <a:accent3>
        <a:srgbClr val="878787"/>
      </a:accent3>
      <a:accent4>
        <a:srgbClr val="000000"/>
      </a:accent4>
      <a:accent5>
        <a:srgbClr val="FFCC00"/>
      </a:accent5>
      <a:accent6>
        <a:srgbClr val="E60000"/>
      </a:accent6>
      <a:hlink>
        <a:srgbClr val="0000FF"/>
      </a:hlink>
      <a:folHlink>
        <a:srgbClr val="800080"/>
      </a:folHlink>
    </a:clrScheme>
    <a:fontScheme name="DFB 2016">
      <a:majorFont>
        <a:latin typeface="DFB Sans Ofc"/>
        <a:ea typeface=""/>
        <a:cs typeface=""/>
      </a:majorFont>
      <a:minorFont>
        <a:latin typeface="DFB Sans Of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F6DAF0F83ECFF84586EDD912482DB8BB" ma:contentTypeVersion="13" ma:contentTypeDescription="Ein neues Dokument erstellen." ma:contentTypeScope="" ma:versionID="ddb829a90b37846afea29b33547934b4">
  <xsd:schema xmlns:xsd="http://www.w3.org/2001/XMLSchema" xmlns:xs="http://www.w3.org/2001/XMLSchema" xmlns:p="http://schemas.microsoft.com/office/2006/metadata/properties" xmlns:ns2="fb28b976-10c3-47be-b44a-1dea75d976f5" xmlns:ns3="46e66027-a1f2-492b-9bfc-934c17d06911" targetNamespace="http://schemas.microsoft.com/office/2006/metadata/properties" ma:root="true" ma:fieldsID="dedcf27b156f381f6edee948c508bb75" ns2:_="" ns3:_="">
    <xsd:import namespace="fb28b976-10c3-47be-b44a-1dea75d976f5"/>
    <xsd:import namespace="46e66027-a1f2-492b-9bfc-934c17d06911"/>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b28b976-10c3-47be-b44a-1dea75d976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6e66027-a1f2-492b-9bfc-934c17d06911" elementFormDefault="qualified">
    <xsd:import namespace="http://schemas.microsoft.com/office/2006/documentManagement/types"/>
    <xsd:import namespace="http://schemas.microsoft.com/office/infopath/2007/PartnerControls"/>
    <xsd:element name="SharedWithUsers" ma:index="17"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D313029-4DEA-446A-BF12-3D01EBECF986}">
  <ds:schemaRefs>
    <ds:schemaRef ds:uri="http://schemas.microsoft.com/sharepoint/v3/contenttype/forms"/>
  </ds:schemaRefs>
</ds:datastoreItem>
</file>

<file path=customXml/itemProps2.xml><?xml version="1.0" encoding="utf-8"?>
<ds:datastoreItem xmlns:ds="http://schemas.openxmlformats.org/officeDocument/2006/customXml" ds:itemID="{BCD5DB8C-26F0-485B-B49B-746875B6231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b28b976-10c3-47be-b44a-1dea75d976f5"/>
    <ds:schemaRef ds:uri="46e66027-a1f2-492b-9bfc-934c17d0691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3E13E61-864C-4D7D-BE56-8369AA555CE0}">
  <ds:schemaRefs>
    <ds:schemaRef ds:uri="http://schemas.microsoft.com/office/2006/documentManagement/types"/>
    <ds:schemaRef ds:uri="http://purl.org/dc/terms/"/>
    <ds:schemaRef ds:uri="http://purl.org/dc/dcmitype/"/>
    <ds:schemaRef ds:uri="http://www.w3.org/XML/1998/namespace"/>
    <ds:schemaRef ds:uri="http://purl.org/dc/elements/1.1/"/>
    <ds:schemaRef ds:uri="http://schemas.openxmlformats.org/package/2006/metadata/core-properties"/>
    <ds:schemaRef ds:uri="http://schemas.microsoft.com/office/infopath/2007/PartnerControls"/>
    <ds:schemaRef ds:uri="46e66027-a1f2-492b-9bfc-934c17d06911"/>
    <ds:schemaRef ds:uri="fb28b976-10c3-47be-b44a-1dea75d976f5"/>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0</TotalTime>
  <Words>435</Words>
  <Application>Microsoft Office PowerPoint</Application>
  <PresentationFormat>Breitbild</PresentationFormat>
  <Paragraphs>47</Paragraphs>
  <Slides>6</Slides>
  <Notes>1</Notes>
  <HiddenSlides>0</HiddenSlides>
  <MMClips>0</MMClips>
  <ScaleCrop>false</ScaleCrop>
  <HeadingPairs>
    <vt:vector size="8" baseType="variant">
      <vt:variant>
        <vt:lpstr>Verwendete Schriftarten</vt:lpstr>
      </vt:variant>
      <vt:variant>
        <vt:i4>2</vt:i4>
      </vt:variant>
      <vt:variant>
        <vt:lpstr>Design</vt:lpstr>
      </vt:variant>
      <vt:variant>
        <vt:i4>1</vt:i4>
      </vt:variant>
      <vt:variant>
        <vt:lpstr>Eingebettete OLE-Server</vt:lpstr>
      </vt:variant>
      <vt:variant>
        <vt:i4>1</vt:i4>
      </vt:variant>
      <vt:variant>
        <vt:lpstr>Folientitel</vt:lpstr>
      </vt:variant>
      <vt:variant>
        <vt:i4>6</vt:i4>
      </vt:variant>
    </vt:vector>
  </HeadingPairs>
  <TitlesOfParts>
    <vt:vector size="10" baseType="lpstr">
      <vt:lpstr>Arial</vt:lpstr>
      <vt:lpstr>DFB Sans Ofc</vt:lpstr>
      <vt:lpstr>DFB</vt:lpstr>
      <vt:lpstr>think-cell Folie</vt:lpstr>
      <vt:lpstr>Zusammenarbeit im SR-Team</vt:lpstr>
      <vt:lpstr>PowerPoint-Präsentation</vt:lpstr>
      <vt:lpstr>Nicht neutraler Assistent</vt:lpstr>
      <vt:lpstr>Nicht neutraler Assistent</vt:lpstr>
      <vt:lpstr>sPIELFELD</vt:lpstr>
      <vt:lpstr>Viel Erfolg bei der Präsentationserstellung</vt:lpstr>
    </vt:vector>
  </TitlesOfParts>
  <Manager>Vorname Nachname</Manager>
  <Company>DFB</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usterfolien / Styleguide für präsentationen</dc:title>
  <dc:subject>PowerPoint Vorlage</dc:subject>
  <dc:creator>Vorname Nachname</dc:creator>
  <dc:description>Für die PowerPoint Version 2013 optimiert Vorlage.</dc:description>
  <cp:lastModifiedBy>Andreas Schröter</cp:lastModifiedBy>
  <cp:revision>367</cp:revision>
  <cp:lastPrinted>2016-12-20T13:58:34Z</cp:lastPrinted>
  <dcterms:created xsi:type="dcterms:W3CDTF">2016-11-28T08:25:22Z</dcterms:created>
  <dcterms:modified xsi:type="dcterms:W3CDTF">2022-01-08T10:55: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6DAF0F83ECFF84586EDD912482DB8BB</vt:lpwstr>
  </property>
  <property fmtid="{D5CDD505-2E9C-101B-9397-08002B2CF9AE}" pid="3" name="Order">
    <vt:r8>5177200</vt:r8>
  </property>
</Properties>
</file>